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564" r:id="rId5"/>
    <p:sldMasterId id="2147484602" r:id="rId6"/>
  </p:sldMasterIdLst>
  <p:notesMasterIdLst>
    <p:notesMasterId r:id="rId25"/>
  </p:notesMasterIdLst>
  <p:sldIdLst>
    <p:sldId id="294" r:id="rId7"/>
    <p:sldId id="314" r:id="rId8"/>
    <p:sldId id="535" r:id="rId9"/>
    <p:sldId id="319" r:id="rId10"/>
    <p:sldId id="259" r:id="rId11"/>
    <p:sldId id="536" r:id="rId12"/>
    <p:sldId id="521" r:id="rId13"/>
    <p:sldId id="533" r:id="rId14"/>
    <p:sldId id="534" r:id="rId15"/>
    <p:sldId id="537" r:id="rId16"/>
    <p:sldId id="538" r:id="rId17"/>
    <p:sldId id="539" r:id="rId18"/>
    <p:sldId id="526" r:id="rId19"/>
    <p:sldId id="542" r:id="rId20"/>
    <p:sldId id="530" r:id="rId21"/>
    <p:sldId id="541" r:id="rId22"/>
    <p:sldId id="544" r:id="rId23"/>
    <p:sldId id="540" r:id="rId24"/>
  </p:sldIdLst>
  <p:sldSz cx="12192000" cy="6858000"/>
  <p:notesSz cx="6858000" cy="9144000"/>
  <p:custDataLst>
    <p:tags r:id="rId26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B0CC7E1-65D7-F7C7-F635-9F95677B12A8}" v="11" dt="2026-02-25T15:46:33.403"/>
    <p1510:client id="{1E521957-D636-CF65-8BF2-2366129249C2}" v="19" dt="2026-02-25T15:44:10.073"/>
    <p1510:client id="{4E2D6232-67DD-DF60-8AE1-264DE5DC2963}" v="203" dt="2026-02-24T21:47:09.036"/>
    <p1510:client id="{CFC2562B-DDD5-4025-9436-7257CCBB2B22}" v="20" dt="2026-02-24T21:56:53.403"/>
    <p1510:client id="{E626250E-46CC-4FD9-A40B-BDC7CBC5DFDB}" v="203" dt="2026-02-25T15:29:50.395"/>
    <p1510:client id="{F080EAF5-D584-D31F-F89B-1CC3DA6032F2}" v="16" dt="2026-02-24T19:22:39.22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352" autoAdjust="0"/>
    <p:restoredTop sz="94660"/>
  </p:normalViewPr>
  <p:slideViewPr>
    <p:cSldViewPr snapToGrid="0">
      <p:cViewPr varScale="1">
        <p:scale>
          <a:sx n="120" d="100"/>
          <a:sy n="120" d="100"/>
        </p:scale>
        <p:origin x="55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heme" Target="theme/theme1.xml"/><Relationship Id="rId32" Type="http://schemas.microsoft.com/office/2015/10/relationships/revisionInfo" Target="revisionInfo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microsoft.com/office/2016/11/relationships/changesInfo" Target="changesInfos/changesInfo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effen Reestorff Frandsen (SBF)" userId="S::sbf_niras.dk#ext#@wsponline.onmicrosoft.com::65d26b19-0cc6-4ee9-b885-c9d3beef0ca3" providerId="AD" clId="Web-{F080EAF5-D584-D31F-F89B-1CC3DA6032F2}"/>
    <pc:docChg chg="modSld">
      <pc:chgData name="Steffen Reestorff Frandsen (SBF)" userId="S::sbf_niras.dk#ext#@wsponline.onmicrosoft.com::65d26b19-0cc6-4ee9-b885-c9d3beef0ca3" providerId="AD" clId="Web-{F080EAF5-D584-D31F-F89B-1CC3DA6032F2}" dt="2026-02-24T19:22:39.224" v="15" actId="20577"/>
      <pc:docMkLst>
        <pc:docMk/>
      </pc:docMkLst>
      <pc:sldChg chg="modSp">
        <pc:chgData name="Steffen Reestorff Frandsen (SBF)" userId="S::sbf_niras.dk#ext#@wsponline.onmicrosoft.com::65d26b19-0cc6-4ee9-b885-c9d3beef0ca3" providerId="AD" clId="Web-{F080EAF5-D584-D31F-F89B-1CC3DA6032F2}" dt="2026-02-24T19:22:39.224" v="15" actId="20577"/>
        <pc:sldMkLst>
          <pc:docMk/>
          <pc:sldMk cId="2942881923" sldId="533"/>
        </pc:sldMkLst>
        <pc:spChg chg="mod">
          <ac:chgData name="Steffen Reestorff Frandsen (SBF)" userId="S::sbf_niras.dk#ext#@wsponline.onmicrosoft.com::65d26b19-0cc6-4ee9-b885-c9d3beef0ca3" providerId="AD" clId="Web-{F080EAF5-D584-D31F-F89B-1CC3DA6032F2}" dt="2026-02-24T19:22:04.818" v="1" actId="20577"/>
          <ac:spMkLst>
            <pc:docMk/>
            <pc:sldMk cId="2942881923" sldId="533"/>
            <ac:spMk id="2" creationId="{1E46143B-097D-BE37-E8DF-665D5A7C46B7}"/>
          </ac:spMkLst>
        </pc:spChg>
        <pc:spChg chg="mod">
          <ac:chgData name="Steffen Reestorff Frandsen (SBF)" userId="S::sbf_niras.dk#ext#@wsponline.onmicrosoft.com::65d26b19-0cc6-4ee9-b885-c9d3beef0ca3" providerId="AD" clId="Web-{F080EAF5-D584-D31F-F89B-1CC3DA6032F2}" dt="2026-02-24T19:22:39.224" v="15" actId="20577"/>
          <ac:spMkLst>
            <pc:docMk/>
            <pc:sldMk cId="2942881923" sldId="533"/>
            <ac:spMk id="5" creationId="{BA168EB9-11E3-2A16-5C21-899C3DCB0E39}"/>
          </ac:spMkLst>
        </pc:spChg>
      </pc:sldChg>
    </pc:docChg>
  </pc:docChgLst>
  <pc:docChgLst>
    <pc:chgData name="Steffen Reestorff Frandsen (SBF)" userId="74d9ad76-6ad5-4aec-9fb2-dc56ea20e484" providerId="ADAL" clId="{F273A419-B322-4C70-94BE-C46F0BC72DC6}"/>
    <pc:docChg chg="undo custSel addSld delSld modSld sldOrd">
      <pc:chgData name="Steffen Reestorff Frandsen (SBF)" userId="74d9ad76-6ad5-4aec-9fb2-dc56ea20e484" providerId="ADAL" clId="{F273A419-B322-4C70-94BE-C46F0BC72DC6}" dt="2026-02-25T15:35:08.468" v="7505" actId="12"/>
      <pc:docMkLst>
        <pc:docMk/>
      </pc:docMkLst>
      <pc:sldChg chg="del mod modShow">
        <pc:chgData name="Steffen Reestorff Frandsen (SBF)" userId="74d9ad76-6ad5-4aec-9fb2-dc56ea20e484" providerId="ADAL" clId="{F273A419-B322-4C70-94BE-C46F0BC72DC6}" dt="2026-02-25T14:33:11.830" v="6514" actId="47"/>
        <pc:sldMkLst>
          <pc:docMk/>
          <pc:sldMk cId="0" sldId="291"/>
        </pc:sldMkLst>
      </pc:sldChg>
      <pc:sldChg chg="addSp modSp add mod ord">
        <pc:chgData name="Steffen Reestorff Frandsen (SBF)" userId="74d9ad76-6ad5-4aec-9fb2-dc56ea20e484" providerId="ADAL" clId="{F273A419-B322-4C70-94BE-C46F0BC72DC6}" dt="2026-02-20T08:39:44.713" v="81" actId="14100"/>
        <pc:sldMkLst>
          <pc:docMk/>
          <pc:sldMk cId="1758669943" sldId="294"/>
        </pc:sldMkLst>
        <pc:graphicFrameChg chg="modGraphic">
          <ac:chgData name="Steffen Reestorff Frandsen (SBF)" userId="74d9ad76-6ad5-4aec-9fb2-dc56ea20e484" providerId="ADAL" clId="{F273A419-B322-4C70-94BE-C46F0BC72DC6}" dt="2026-02-20T08:38:24.340" v="76" actId="20577"/>
          <ac:graphicFrameMkLst>
            <pc:docMk/>
            <pc:sldMk cId="1758669943" sldId="294"/>
            <ac:graphicFrameMk id="4" creationId="{1F755A64-8CAC-47AC-93DB-FDE781CDF04B}"/>
          </ac:graphicFrameMkLst>
        </pc:graphicFrameChg>
      </pc:sldChg>
      <pc:sldChg chg="del mod modShow">
        <pc:chgData name="Steffen Reestorff Frandsen (SBF)" userId="74d9ad76-6ad5-4aec-9fb2-dc56ea20e484" providerId="ADAL" clId="{F273A419-B322-4C70-94BE-C46F0BC72DC6}" dt="2026-02-25T14:33:11.830" v="6514" actId="47"/>
        <pc:sldMkLst>
          <pc:docMk/>
          <pc:sldMk cId="0" sldId="300"/>
        </pc:sldMkLst>
      </pc:sldChg>
      <pc:sldChg chg="del">
        <pc:chgData name="Steffen Reestorff Frandsen (SBF)" userId="74d9ad76-6ad5-4aec-9fb2-dc56ea20e484" providerId="ADAL" clId="{F273A419-B322-4C70-94BE-C46F0BC72DC6}" dt="2026-02-25T14:33:17.977" v="6515" actId="47"/>
        <pc:sldMkLst>
          <pc:docMk/>
          <pc:sldMk cId="698177667" sldId="303"/>
        </pc:sldMkLst>
      </pc:sldChg>
      <pc:sldChg chg="del">
        <pc:chgData name="Steffen Reestorff Frandsen (SBF)" userId="74d9ad76-6ad5-4aec-9fb2-dc56ea20e484" providerId="ADAL" clId="{F273A419-B322-4C70-94BE-C46F0BC72DC6}" dt="2026-02-25T14:33:17.977" v="6515" actId="47"/>
        <pc:sldMkLst>
          <pc:docMk/>
          <pc:sldMk cId="1893337980" sldId="304"/>
        </pc:sldMkLst>
      </pc:sldChg>
      <pc:sldChg chg="del">
        <pc:chgData name="Steffen Reestorff Frandsen (SBF)" userId="74d9ad76-6ad5-4aec-9fb2-dc56ea20e484" providerId="ADAL" clId="{F273A419-B322-4C70-94BE-C46F0BC72DC6}" dt="2026-02-25T14:33:40.848" v="6519" actId="47"/>
        <pc:sldMkLst>
          <pc:docMk/>
          <pc:sldMk cId="518341743" sldId="305"/>
        </pc:sldMkLst>
      </pc:sldChg>
      <pc:sldChg chg="del">
        <pc:chgData name="Steffen Reestorff Frandsen (SBF)" userId="74d9ad76-6ad5-4aec-9fb2-dc56ea20e484" providerId="ADAL" clId="{F273A419-B322-4C70-94BE-C46F0BC72DC6}" dt="2026-02-25T14:33:17.977" v="6515" actId="47"/>
        <pc:sldMkLst>
          <pc:docMk/>
          <pc:sldMk cId="3426479364" sldId="306"/>
        </pc:sldMkLst>
      </pc:sldChg>
      <pc:sldChg chg="del">
        <pc:chgData name="Steffen Reestorff Frandsen (SBF)" userId="74d9ad76-6ad5-4aec-9fb2-dc56ea20e484" providerId="ADAL" clId="{F273A419-B322-4C70-94BE-C46F0BC72DC6}" dt="2026-02-25T14:33:17.977" v="6515" actId="47"/>
        <pc:sldMkLst>
          <pc:docMk/>
          <pc:sldMk cId="1787032205" sldId="307"/>
        </pc:sldMkLst>
      </pc:sldChg>
      <pc:sldChg chg="del">
        <pc:chgData name="Steffen Reestorff Frandsen (SBF)" userId="74d9ad76-6ad5-4aec-9fb2-dc56ea20e484" providerId="ADAL" clId="{F273A419-B322-4C70-94BE-C46F0BC72DC6}" dt="2026-02-25T14:33:38.128" v="6518" actId="47"/>
        <pc:sldMkLst>
          <pc:docMk/>
          <pc:sldMk cId="956642389" sldId="308"/>
        </pc:sldMkLst>
      </pc:sldChg>
      <pc:sldChg chg="del">
        <pc:chgData name="Steffen Reestorff Frandsen (SBF)" userId="74d9ad76-6ad5-4aec-9fb2-dc56ea20e484" providerId="ADAL" clId="{F273A419-B322-4C70-94BE-C46F0BC72DC6}" dt="2026-02-25T14:33:17.977" v="6515" actId="47"/>
        <pc:sldMkLst>
          <pc:docMk/>
          <pc:sldMk cId="299934468" sldId="309"/>
        </pc:sldMkLst>
      </pc:sldChg>
      <pc:sldChg chg="del">
        <pc:chgData name="Steffen Reestorff Frandsen (SBF)" userId="74d9ad76-6ad5-4aec-9fb2-dc56ea20e484" providerId="ADAL" clId="{F273A419-B322-4C70-94BE-C46F0BC72DC6}" dt="2026-02-25T14:33:22.344" v="6516" actId="47"/>
        <pc:sldMkLst>
          <pc:docMk/>
          <pc:sldMk cId="2639946188" sldId="310"/>
        </pc:sldMkLst>
      </pc:sldChg>
      <pc:sldChg chg="del">
        <pc:chgData name="Steffen Reestorff Frandsen (SBF)" userId="74d9ad76-6ad5-4aec-9fb2-dc56ea20e484" providerId="ADAL" clId="{F273A419-B322-4C70-94BE-C46F0BC72DC6}" dt="2026-02-25T14:33:22.344" v="6516" actId="47"/>
        <pc:sldMkLst>
          <pc:docMk/>
          <pc:sldMk cId="987483005" sldId="311"/>
        </pc:sldMkLst>
      </pc:sldChg>
      <pc:sldChg chg="del">
        <pc:chgData name="Steffen Reestorff Frandsen (SBF)" userId="74d9ad76-6ad5-4aec-9fb2-dc56ea20e484" providerId="ADAL" clId="{F273A419-B322-4C70-94BE-C46F0BC72DC6}" dt="2026-02-25T14:33:17.977" v="6515" actId="47"/>
        <pc:sldMkLst>
          <pc:docMk/>
          <pc:sldMk cId="1384920605" sldId="312"/>
        </pc:sldMkLst>
      </pc:sldChg>
      <pc:sldChg chg="del">
        <pc:chgData name="Steffen Reestorff Frandsen (SBF)" userId="74d9ad76-6ad5-4aec-9fb2-dc56ea20e484" providerId="ADAL" clId="{F273A419-B322-4C70-94BE-C46F0BC72DC6}" dt="2026-02-25T14:33:22.344" v="6516" actId="47"/>
        <pc:sldMkLst>
          <pc:docMk/>
          <pc:sldMk cId="2108805061" sldId="313"/>
        </pc:sldMkLst>
      </pc:sldChg>
      <pc:sldChg chg="modSp mod">
        <pc:chgData name="Steffen Reestorff Frandsen (SBF)" userId="74d9ad76-6ad5-4aec-9fb2-dc56ea20e484" providerId="ADAL" clId="{F273A419-B322-4C70-94BE-C46F0BC72DC6}" dt="2026-02-25T15:06:17.790" v="6860" actId="20577"/>
        <pc:sldMkLst>
          <pc:docMk/>
          <pc:sldMk cId="3272657244" sldId="314"/>
        </pc:sldMkLst>
        <pc:spChg chg="mod">
          <ac:chgData name="Steffen Reestorff Frandsen (SBF)" userId="74d9ad76-6ad5-4aec-9fb2-dc56ea20e484" providerId="ADAL" clId="{F273A419-B322-4C70-94BE-C46F0BC72DC6}" dt="2026-02-20T09:24:07.120" v="261" actId="20577"/>
          <ac:spMkLst>
            <pc:docMk/>
            <pc:sldMk cId="3272657244" sldId="314"/>
            <ac:spMk id="24" creationId="{CFB62508-1D76-8772-CD4C-4E8D68E380B2}"/>
          </ac:spMkLst>
        </pc:spChg>
        <pc:spChg chg="mod">
          <ac:chgData name="Steffen Reestorff Frandsen (SBF)" userId="74d9ad76-6ad5-4aec-9fb2-dc56ea20e484" providerId="ADAL" clId="{F273A419-B322-4C70-94BE-C46F0BC72DC6}" dt="2026-02-25T15:06:17.790" v="6860" actId="20577"/>
          <ac:spMkLst>
            <pc:docMk/>
            <pc:sldMk cId="3272657244" sldId="314"/>
            <ac:spMk id="26" creationId="{FDBB4E53-E549-CF72-8776-90D51B58484B}"/>
          </ac:spMkLst>
        </pc:spChg>
      </pc:sldChg>
      <pc:sldChg chg="del">
        <pc:chgData name="Steffen Reestorff Frandsen (SBF)" userId="74d9ad76-6ad5-4aec-9fb2-dc56ea20e484" providerId="ADAL" clId="{F273A419-B322-4C70-94BE-C46F0BC72DC6}" dt="2026-02-25T14:33:22.344" v="6516" actId="47"/>
        <pc:sldMkLst>
          <pc:docMk/>
          <pc:sldMk cId="1821083972" sldId="317"/>
        </pc:sldMkLst>
      </pc:sldChg>
      <pc:sldChg chg="del">
        <pc:chgData name="Steffen Reestorff Frandsen (SBF)" userId="74d9ad76-6ad5-4aec-9fb2-dc56ea20e484" providerId="ADAL" clId="{F273A419-B322-4C70-94BE-C46F0BC72DC6}" dt="2026-02-25T14:33:36.201" v="6517" actId="47"/>
        <pc:sldMkLst>
          <pc:docMk/>
          <pc:sldMk cId="3486007410" sldId="318"/>
        </pc:sldMkLst>
      </pc:sldChg>
      <pc:sldChg chg="modSp mod">
        <pc:chgData name="Steffen Reestorff Frandsen (SBF)" userId="74d9ad76-6ad5-4aec-9fb2-dc56ea20e484" providerId="ADAL" clId="{F273A419-B322-4C70-94BE-C46F0BC72DC6}" dt="2026-02-20T09:32:30.028" v="548" actId="6549"/>
        <pc:sldMkLst>
          <pc:docMk/>
          <pc:sldMk cId="4218646901" sldId="319"/>
        </pc:sldMkLst>
        <pc:spChg chg="mod">
          <ac:chgData name="Steffen Reestorff Frandsen (SBF)" userId="74d9ad76-6ad5-4aec-9fb2-dc56ea20e484" providerId="ADAL" clId="{F273A419-B322-4C70-94BE-C46F0BC72DC6}" dt="2026-02-20T09:32:30.028" v="548" actId="6549"/>
          <ac:spMkLst>
            <pc:docMk/>
            <pc:sldMk cId="4218646901" sldId="319"/>
            <ac:spMk id="3" creationId="{E7C9BD12-B97D-07E9-0363-5E19C4356DC8}"/>
          </ac:spMkLst>
        </pc:spChg>
      </pc:sldChg>
      <pc:sldChg chg="del mod modShow">
        <pc:chgData name="Steffen Reestorff Frandsen (SBF)" userId="74d9ad76-6ad5-4aec-9fb2-dc56ea20e484" providerId="ADAL" clId="{F273A419-B322-4C70-94BE-C46F0BC72DC6}" dt="2026-02-25T14:33:11.830" v="6514" actId="47"/>
        <pc:sldMkLst>
          <pc:docMk/>
          <pc:sldMk cId="0" sldId="320"/>
        </pc:sldMkLst>
      </pc:sldChg>
      <pc:sldChg chg="del mod modShow">
        <pc:chgData name="Steffen Reestorff Frandsen (SBF)" userId="74d9ad76-6ad5-4aec-9fb2-dc56ea20e484" providerId="ADAL" clId="{F273A419-B322-4C70-94BE-C46F0BC72DC6}" dt="2026-02-25T14:33:11.830" v="6514" actId="47"/>
        <pc:sldMkLst>
          <pc:docMk/>
          <pc:sldMk cId="1043556631" sldId="321"/>
        </pc:sldMkLst>
      </pc:sldChg>
      <pc:sldChg chg="del mod modShow">
        <pc:chgData name="Steffen Reestorff Frandsen (SBF)" userId="74d9ad76-6ad5-4aec-9fb2-dc56ea20e484" providerId="ADAL" clId="{F273A419-B322-4C70-94BE-C46F0BC72DC6}" dt="2026-02-25T14:48:19.848" v="6859" actId="2696"/>
        <pc:sldMkLst>
          <pc:docMk/>
          <pc:sldMk cId="1528310224" sldId="510"/>
        </pc:sldMkLst>
      </pc:sldChg>
      <pc:sldChg chg="del mod modShow">
        <pc:chgData name="Steffen Reestorff Frandsen (SBF)" userId="74d9ad76-6ad5-4aec-9fb2-dc56ea20e484" providerId="ADAL" clId="{F273A419-B322-4C70-94BE-C46F0BC72DC6}" dt="2026-02-25T14:48:19.848" v="6859" actId="2696"/>
        <pc:sldMkLst>
          <pc:docMk/>
          <pc:sldMk cId="2451875245" sldId="515"/>
        </pc:sldMkLst>
      </pc:sldChg>
      <pc:sldChg chg="del mod modShow">
        <pc:chgData name="Steffen Reestorff Frandsen (SBF)" userId="74d9ad76-6ad5-4aec-9fb2-dc56ea20e484" providerId="ADAL" clId="{F273A419-B322-4C70-94BE-C46F0BC72DC6}" dt="2026-02-25T14:48:19.848" v="6859" actId="2696"/>
        <pc:sldMkLst>
          <pc:docMk/>
          <pc:sldMk cId="672918217" sldId="516"/>
        </pc:sldMkLst>
      </pc:sldChg>
      <pc:sldChg chg="del mod modShow">
        <pc:chgData name="Steffen Reestorff Frandsen (SBF)" userId="74d9ad76-6ad5-4aec-9fb2-dc56ea20e484" providerId="ADAL" clId="{F273A419-B322-4C70-94BE-C46F0BC72DC6}" dt="2026-02-25T14:48:19.848" v="6859" actId="2696"/>
        <pc:sldMkLst>
          <pc:docMk/>
          <pc:sldMk cId="3542828271" sldId="517"/>
        </pc:sldMkLst>
      </pc:sldChg>
      <pc:sldChg chg="modSp new del mod ord">
        <pc:chgData name="Steffen Reestorff Frandsen (SBF)" userId="74d9ad76-6ad5-4aec-9fb2-dc56ea20e484" providerId="ADAL" clId="{F273A419-B322-4C70-94BE-C46F0BC72DC6}" dt="2026-02-25T14:33:45.959" v="6520" actId="47"/>
        <pc:sldMkLst>
          <pc:docMk/>
          <pc:sldMk cId="2270494776" sldId="520"/>
        </pc:sldMkLst>
      </pc:sldChg>
      <pc:sldChg chg="modSp new mod ord">
        <pc:chgData name="Steffen Reestorff Frandsen (SBF)" userId="74d9ad76-6ad5-4aec-9fb2-dc56ea20e484" providerId="ADAL" clId="{F273A419-B322-4C70-94BE-C46F0BC72DC6}" dt="2026-02-25T15:07:42.538" v="6907" actId="20577"/>
        <pc:sldMkLst>
          <pc:docMk/>
          <pc:sldMk cId="1913139638" sldId="521"/>
        </pc:sldMkLst>
        <pc:spChg chg="mod">
          <ac:chgData name="Steffen Reestorff Frandsen (SBF)" userId="74d9ad76-6ad5-4aec-9fb2-dc56ea20e484" providerId="ADAL" clId="{F273A419-B322-4C70-94BE-C46F0BC72DC6}" dt="2026-02-25T12:48:15.300" v="4344" actId="20577"/>
          <ac:spMkLst>
            <pc:docMk/>
            <pc:sldMk cId="1913139638" sldId="521"/>
            <ac:spMk id="2" creationId="{E5144D38-7B4F-64AC-C1FF-B20294DF40D3}"/>
          </ac:spMkLst>
        </pc:spChg>
        <pc:spChg chg="mod">
          <ac:chgData name="Steffen Reestorff Frandsen (SBF)" userId="74d9ad76-6ad5-4aec-9fb2-dc56ea20e484" providerId="ADAL" clId="{F273A419-B322-4C70-94BE-C46F0BC72DC6}" dt="2026-02-25T15:07:42.538" v="6907" actId="20577"/>
          <ac:spMkLst>
            <pc:docMk/>
            <pc:sldMk cId="1913139638" sldId="521"/>
            <ac:spMk id="5" creationId="{3B92BC1F-F0CA-B27E-249F-5D02DD11DA6F}"/>
          </ac:spMkLst>
        </pc:spChg>
        <pc:picChg chg="mod">
          <ac:chgData name="Steffen Reestorff Frandsen (SBF)" userId="74d9ad76-6ad5-4aec-9fb2-dc56ea20e484" providerId="ADAL" clId="{F273A419-B322-4C70-94BE-C46F0BC72DC6}" dt="2026-02-25T14:35:08.040" v="6560" actId="1076"/>
          <ac:picMkLst>
            <pc:docMk/>
            <pc:sldMk cId="1913139638" sldId="521"/>
            <ac:picMk id="7" creationId="{420466F3-FDEF-0C54-9E71-32502C1E37DC}"/>
          </ac:picMkLst>
        </pc:picChg>
      </pc:sldChg>
      <pc:sldChg chg="addSp delSp modSp new mod">
        <pc:chgData name="Steffen Reestorff Frandsen (SBF)" userId="74d9ad76-6ad5-4aec-9fb2-dc56ea20e484" providerId="ADAL" clId="{F273A419-B322-4C70-94BE-C46F0BC72DC6}" dt="2026-02-25T15:31:13.104" v="7465" actId="113"/>
        <pc:sldMkLst>
          <pc:docMk/>
          <pc:sldMk cId="2878103130" sldId="522"/>
        </pc:sldMkLst>
        <pc:spChg chg="mod">
          <ac:chgData name="Steffen Reestorff Frandsen (SBF)" userId="74d9ad76-6ad5-4aec-9fb2-dc56ea20e484" providerId="ADAL" clId="{F273A419-B322-4C70-94BE-C46F0BC72DC6}" dt="2026-02-25T12:24:33.758" v="3901" actId="20577"/>
          <ac:spMkLst>
            <pc:docMk/>
            <pc:sldMk cId="2878103130" sldId="522"/>
            <ac:spMk id="2" creationId="{14EE2F12-646B-113B-3771-E3FBDB19FD53}"/>
          </ac:spMkLst>
        </pc:spChg>
        <pc:spChg chg="mod">
          <ac:chgData name="Steffen Reestorff Frandsen (SBF)" userId="74d9ad76-6ad5-4aec-9fb2-dc56ea20e484" providerId="ADAL" clId="{F273A419-B322-4C70-94BE-C46F0BC72DC6}" dt="2026-02-25T14:40:18.112" v="6699" actId="20577"/>
          <ac:spMkLst>
            <pc:docMk/>
            <pc:sldMk cId="2878103130" sldId="522"/>
            <ac:spMk id="3" creationId="{97456234-78C1-75E5-E8E1-9A95F2269FD8}"/>
          </ac:spMkLst>
        </pc:spChg>
        <pc:spChg chg="mod">
          <ac:chgData name="Steffen Reestorff Frandsen (SBF)" userId="74d9ad76-6ad5-4aec-9fb2-dc56ea20e484" providerId="ADAL" clId="{F273A419-B322-4C70-94BE-C46F0BC72DC6}" dt="2026-02-25T15:31:13.104" v="7465" actId="113"/>
          <ac:spMkLst>
            <pc:docMk/>
            <pc:sldMk cId="2878103130" sldId="522"/>
            <ac:spMk id="5" creationId="{4F10CEC2-6531-22AF-241E-80860692CF0B}"/>
          </ac:spMkLst>
        </pc:spChg>
        <pc:spChg chg="mod">
          <ac:chgData name="Steffen Reestorff Frandsen (SBF)" userId="74d9ad76-6ad5-4aec-9fb2-dc56ea20e484" providerId="ADAL" clId="{F273A419-B322-4C70-94BE-C46F0BC72DC6}" dt="2026-02-25T15:30:49.013" v="7419" actId="20577"/>
          <ac:spMkLst>
            <pc:docMk/>
            <pc:sldMk cId="2878103130" sldId="522"/>
            <ac:spMk id="6" creationId="{6EC35616-B2F9-1ED2-D893-D7E6D8492F7A}"/>
          </ac:spMkLst>
        </pc:spChg>
        <pc:picChg chg="add mod">
          <ac:chgData name="Steffen Reestorff Frandsen (SBF)" userId="74d9ad76-6ad5-4aec-9fb2-dc56ea20e484" providerId="ADAL" clId="{F273A419-B322-4C70-94BE-C46F0BC72DC6}" dt="2026-02-25T12:31:11.307" v="4006"/>
          <ac:picMkLst>
            <pc:docMk/>
            <pc:sldMk cId="2878103130" sldId="522"/>
            <ac:picMk id="7" creationId="{A0BE0E62-3BF3-6622-35B0-7903ACB163E7}"/>
          </ac:picMkLst>
        </pc:picChg>
        <pc:picChg chg="add mod modCrop">
          <ac:chgData name="Steffen Reestorff Frandsen (SBF)" userId="74d9ad76-6ad5-4aec-9fb2-dc56ea20e484" providerId="ADAL" clId="{F273A419-B322-4C70-94BE-C46F0BC72DC6}" dt="2026-02-25T15:30:45.220" v="7417" actId="1036"/>
          <ac:picMkLst>
            <pc:docMk/>
            <pc:sldMk cId="2878103130" sldId="522"/>
            <ac:picMk id="8" creationId="{0AA83F47-AD00-59E6-A554-903572383910}"/>
          </ac:picMkLst>
        </pc:picChg>
        <pc:picChg chg="add mod">
          <ac:chgData name="Steffen Reestorff Frandsen (SBF)" userId="74d9ad76-6ad5-4aec-9fb2-dc56ea20e484" providerId="ADAL" clId="{F273A419-B322-4C70-94BE-C46F0BC72DC6}" dt="2026-02-25T12:32:33.167" v="4013"/>
          <ac:picMkLst>
            <pc:docMk/>
            <pc:sldMk cId="2878103130" sldId="522"/>
            <ac:picMk id="9" creationId="{1BE8BAAB-8A82-0388-3C93-61774223E224}"/>
          </ac:picMkLst>
        </pc:picChg>
        <pc:picChg chg="add del mod">
          <ac:chgData name="Steffen Reestorff Frandsen (SBF)" userId="74d9ad76-6ad5-4aec-9fb2-dc56ea20e484" providerId="ADAL" clId="{F273A419-B322-4C70-94BE-C46F0BC72DC6}" dt="2026-02-25T12:33:09.940" v="4017" actId="478"/>
          <ac:picMkLst>
            <pc:docMk/>
            <pc:sldMk cId="2878103130" sldId="522"/>
            <ac:picMk id="10" creationId="{9B6D08B1-45F4-0B9D-11C5-A112EA37751C}"/>
          </ac:picMkLst>
        </pc:picChg>
        <pc:picChg chg="add del mod modCrop">
          <ac:chgData name="Steffen Reestorff Frandsen (SBF)" userId="74d9ad76-6ad5-4aec-9fb2-dc56ea20e484" providerId="ADAL" clId="{F273A419-B322-4C70-94BE-C46F0BC72DC6}" dt="2026-02-25T15:29:53.387" v="7387" actId="478"/>
          <ac:picMkLst>
            <pc:docMk/>
            <pc:sldMk cId="2878103130" sldId="522"/>
            <ac:picMk id="11" creationId="{32B69742-74A3-18C3-EB53-FB3E62E674DD}"/>
          </ac:picMkLst>
        </pc:picChg>
        <pc:picChg chg="add mod modCrop">
          <ac:chgData name="Steffen Reestorff Frandsen (SBF)" userId="74d9ad76-6ad5-4aec-9fb2-dc56ea20e484" providerId="ADAL" clId="{F273A419-B322-4C70-94BE-C46F0BC72DC6}" dt="2026-02-25T15:30:45.220" v="7417" actId="1036"/>
          <ac:picMkLst>
            <pc:docMk/>
            <pc:sldMk cId="2878103130" sldId="522"/>
            <ac:picMk id="12" creationId="{3FFBAFBA-A69F-348E-B9A6-07CC86C157C9}"/>
          </ac:picMkLst>
        </pc:picChg>
      </pc:sldChg>
      <pc:sldChg chg="addSp delSp modSp new mod">
        <pc:chgData name="Steffen Reestorff Frandsen (SBF)" userId="74d9ad76-6ad5-4aec-9fb2-dc56ea20e484" providerId="ADAL" clId="{F273A419-B322-4C70-94BE-C46F0BC72DC6}" dt="2026-02-25T15:12:22.676" v="6999" actId="20577"/>
        <pc:sldMkLst>
          <pc:docMk/>
          <pc:sldMk cId="4173596443" sldId="526"/>
        </pc:sldMkLst>
        <pc:spChg chg="mod">
          <ac:chgData name="Steffen Reestorff Frandsen (SBF)" userId="74d9ad76-6ad5-4aec-9fb2-dc56ea20e484" providerId="ADAL" clId="{F273A419-B322-4C70-94BE-C46F0BC72DC6}" dt="2026-02-25T08:39:25.015" v="2643" actId="13926"/>
          <ac:spMkLst>
            <pc:docMk/>
            <pc:sldMk cId="4173596443" sldId="526"/>
            <ac:spMk id="2" creationId="{076145CD-7398-133C-5906-413B3A0274E1}"/>
          </ac:spMkLst>
        </pc:spChg>
        <pc:spChg chg="mod">
          <ac:chgData name="Steffen Reestorff Frandsen (SBF)" userId="74d9ad76-6ad5-4aec-9fb2-dc56ea20e484" providerId="ADAL" clId="{F273A419-B322-4C70-94BE-C46F0BC72DC6}" dt="2026-02-25T15:12:22.676" v="6999" actId="20577"/>
          <ac:spMkLst>
            <pc:docMk/>
            <pc:sldMk cId="4173596443" sldId="526"/>
            <ac:spMk id="5" creationId="{C405273C-89B7-706B-8CDC-F1B14CA4DDF0}"/>
          </ac:spMkLst>
        </pc:spChg>
        <pc:spChg chg="del">
          <ac:chgData name="Steffen Reestorff Frandsen (SBF)" userId="74d9ad76-6ad5-4aec-9fb2-dc56ea20e484" providerId="ADAL" clId="{F273A419-B322-4C70-94BE-C46F0BC72DC6}" dt="2026-02-25T08:40:27.019" v="2801" actId="478"/>
          <ac:spMkLst>
            <pc:docMk/>
            <pc:sldMk cId="4173596443" sldId="526"/>
            <ac:spMk id="6" creationId="{B200AE9D-C557-B34F-CC98-BED4E8D2A8A3}"/>
          </ac:spMkLst>
        </pc:spChg>
        <pc:picChg chg="add del mod">
          <ac:chgData name="Steffen Reestorff Frandsen (SBF)" userId="74d9ad76-6ad5-4aec-9fb2-dc56ea20e484" providerId="ADAL" clId="{F273A419-B322-4C70-94BE-C46F0BC72DC6}" dt="2026-02-25T10:05:38.661" v="3528" actId="478"/>
          <ac:picMkLst>
            <pc:docMk/>
            <pc:sldMk cId="4173596443" sldId="526"/>
            <ac:picMk id="7" creationId="{F861013E-9004-02F8-20C7-00DB97D7807C}"/>
          </ac:picMkLst>
        </pc:picChg>
        <pc:picChg chg="add mod modCrop">
          <ac:chgData name="Steffen Reestorff Frandsen (SBF)" userId="74d9ad76-6ad5-4aec-9fb2-dc56ea20e484" providerId="ADAL" clId="{F273A419-B322-4C70-94BE-C46F0BC72DC6}" dt="2026-02-25T14:38:53.593" v="6651" actId="1036"/>
          <ac:picMkLst>
            <pc:docMk/>
            <pc:sldMk cId="4173596443" sldId="526"/>
            <ac:picMk id="8" creationId="{9D52D124-F292-9C86-A078-9696448996BB}"/>
          </ac:picMkLst>
        </pc:picChg>
      </pc:sldChg>
      <pc:sldChg chg="new del">
        <pc:chgData name="Steffen Reestorff Frandsen (SBF)" userId="74d9ad76-6ad5-4aec-9fb2-dc56ea20e484" providerId="ADAL" clId="{F273A419-B322-4C70-94BE-C46F0BC72DC6}" dt="2026-02-25T13:07:06.579" v="5017" actId="47"/>
        <pc:sldMkLst>
          <pc:docMk/>
          <pc:sldMk cId="2303852639" sldId="527"/>
        </pc:sldMkLst>
      </pc:sldChg>
      <pc:sldChg chg="new del">
        <pc:chgData name="Steffen Reestorff Frandsen (SBF)" userId="74d9ad76-6ad5-4aec-9fb2-dc56ea20e484" providerId="ADAL" clId="{F273A419-B322-4C70-94BE-C46F0BC72DC6}" dt="2026-02-25T14:32:57.966" v="6513" actId="47"/>
        <pc:sldMkLst>
          <pc:docMk/>
          <pc:sldMk cId="426046105" sldId="528"/>
        </pc:sldMkLst>
      </pc:sldChg>
      <pc:sldChg chg="modSp add del mod">
        <pc:chgData name="Steffen Reestorff Frandsen (SBF)" userId="74d9ad76-6ad5-4aec-9fb2-dc56ea20e484" providerId="ADAL" clId="{F273A419-B322-4C70-94BE-C46F0BC72DC6}" dt="2026-02-25T13:49:02.263" v="5455" actId="47"/>
        <pc:sldMkLst>
          <pc:docMk/>
          <pc:sldMk cId="61173312" sldId="529"/>
        </pc:sldMkLst>
        <pc:spChg chg="mod">
          <ac:chgData name="Steffen Reestorff Frandsen (SBF)" userId="74d9ad76-6ad5-4aec-9fb2-dc56ea20e484" providerId="ADAL" clId="{F273A419-B322-4C70-94BE-C46F0BC72DC6}" dt="2026-02-25T10:15:38.193" v="3703" actId="20577"/>
          <ac:spMkLst>
            <pc:docMk/>
            <pc:sldMk cId="61173312" sldId="529"/>
            <ac:spMk id="2" creationId="{C94001A6-33AB-8881-B241-482943E83366}"/>
          </ac:spMkLst>
        </pc:spChg>
        <pc:spChg chg="mod">
          <ac:chgData name="Steffen Reestorff Frandsen (SBF)" userId="74d9ad76-6ad5-4aec-9fb2-dc56ea20e484" providerId="ADAL" clId="{F273A419-B322-4C70-94BE-C46F0BC72DC6}" dt="2026-02-25T10:15:39.877" v="3704" actId="20577"/>
          <ac:spMkLst>
            <pc:docMk/>
            <pc:sldMk cId="61173312" sldId="529"/>
            <ac:spMk id="3" creationId="{6298F311-BA66-9333-5425-DE6670C9C850}"/>
          </ac:spMkLst>
        </pc:spChg>
        <pc:spChg chg="mod">
          <ac:chgData name="Steffen Reestorff Frandsen (SBF)" userId="74d9ad76-6ad5-4aec-9fb2-dc56ea20e484" providerId="ADAL" clId="{F273A419-B322-4C70-94BE-C46F0BC72DC6}" dt="2026-02-25T10:16:14.314" v="3736" actId="20577"/>
          <ac:spMkLst>
            <pc:docMk/>
            <pc:sldMk cId="61173312" sldId="529"/>
            <ac:spMk id="5" creationId="{286E0044-890A-39E0-843D-053F36C8D7FF}"/>
          </ac:spMkLst>
        </pc:spChg>
      </pc:sldChg>
      <pc:sldChg chg="addSp modSp add mod ord">
        <pc:chgData name="Steffen Reestorff Frandsen (SBF)" userId="74d9ad76-6ad5-4aec-9fb2-dc56ea20e484" providerId="ADAL" clId="{F273A419-B322-4C70-94BE-C46F0BC72DC6}" dt="2026-02-25T15:16:15.889" v="7112" actId="12"/>
        <pc:sldMkLst>
          <pc:docMk/>
          <pc:sldMk cId="4000319693" sldId="530"/>
        </pc:sldMkLst>
        <pc:spChg chg="mod">
          <ac:chgData name="Steffen Reestorff Frandsen (SBF)" userId="74d9ad76-6ad5-4aec-9fb2-dc56ea20e484" providerId="ADAL" clId="{F273A419-B322-4C70-94BE-C46F0BC72DC6}" dt="2026-02-25T14:13:42.010" v="6130" actId="20577"/>
          <ac:spMkLst>
            <pc:docMk/>
            <pc:sldMk cId="4000319693" sldId="530"/>
            <ac:spMk id="2" creationId="{CD5BCAD5-783B-C8B4-184B-4B63AC4C227E}"/>
          </ac:spMkLst>
        </pc:spChg>
        <pc:spChg chg="mod">
          <ac:chgData name="Steffen Reestorff Frandsen (SBF)" userId="74d9ad76-6ad5-4aec-9fb2-dc56ea20e484" providerId="ADAL" clId="{F273A419-B322-4C70-94BE-C46F0BC72DC6}" dt="2026-02-25T14:08:38.854" v="6114" actId="20577"/>
          <ac:spMkLst>
            <pc:docMk/>
            <pc:sldMk cId="4000319693" sldId="530"/>
            <ac:spMk id="3" creationId="{A51366D3-F503-F1B9-A5A8-1DF4B3875ABF}"/>
          </ac:spMkLst>
        </pc:spChg>
        <pc:spChg chg="mod">
          <ac:chgData name="Steffen Reestorff Frandsen (SBF)" userId="74d9ad76-6ad5-4aec-9fb2-dc56ea20e484" providerId="ADAL" clId="{F273A419-B322-4C70-94BE-C46F0BC72DC6}" dt="2026-02-25T15:16:15.889" v="7112" actId="12"/>
          <ac:spMkLst>
            <pc:docMk/>
            <pc:sldMk cId="4000319693" sldId="530"/>
            <ac:spMk id="5" creationId="{CF2FDAB0-9CA4-5EDB-8022-6FDE798A2941}"/>
          </ac:spMkLst>
        </pc:spChg>
        <pc:picChg chg="add mod">
          <ac:chgData name="Steffen Reestorff Frandsen (SBF)" userId="74d9ad76-6ad5-4aec-9fb2-dc56ea20e484" providerId="ADAL" clId="{F273A419-B322-4C70-94BE-C46F0BC72DC6}" dt="2026-02-25T13:46:38.396" v="5426" actId="14100"/>
          <ac:picMkLst>
            <pc:docMk/>
            <pc:sldMk cId="4000319693" sldId="530"/>
            <ac:picMk id="6" creationId="{CB6ABE37-5EA5-AE20-963E-84DE3F215BEB}"/>
          </ac:picMkLst>
        </pc:picChg>
        <pc:picChg chg="add mod">
          <ac:chgData name="Steffen Reestorff Frandsen (SBF)" userId="74d9ad76-6ad5-4aec-9fb2-dc56ea20e484" providerId="ADAL" clId="{F273A419-B322-4C70-94BE-C46F0BC72DC6}" dt="2026-02-25T13:46:35.069" v="5425" actId="14100"/>
          <ac:picMkLst>
            <pc:docMk/>
            <pc:sldMk cId="4000319693" sldId="530"/>
            <ac:picMk id="8" creationId="{274677F1-1E4D-117F-7E97-AF469E9101D7}"/>
          </ac:picMkLst>
        </pc:picChg>
      </pc:sldChg>
      <pc:sldChg chg="modSp add del mod">
        <pc:chgData name="Steffen Reestorff Frandsen (SBF)" userId="74d9ad76-6ad5-4aec-9fb2-dc56ea20e484" providerId="ADAL" clId="{F273A419-B322-4C70-94BE-C46F0BC72DC6}" dt="2026-02-25T14:32:51.620" v="6511" actId="47"/>
        <pc:sldMkLst>
          <pc:docMk/>
          <pc:sldMk cId="4006223190" sldId="531"/>
        </pc:sldMkLst>
      </pc:sldChg>
      <pc:sldChg chg="modSp add del mod">
        <pc:chgData name="Steffen Reestorff Frandsen (SBF)" userId="74d9ad76-6ad5-4aec-9fb2-dc56ea20e484" providerId="ADAL" clId="{F273A419-B322-4C70-94BE-C46F0BC72DC6}" dt="2026-02-25T14:32:56.813" v="6512" actId="47"/>
        <pc:sldMkLst>
          <pc:docMk/>
          <pc:sldMk cId="1321581768" sldId="532"/>
        </pc:sldMkLst>
        <pc:spChg chg="mod">
          <ac:chgData name="Steffen Reestorff Frandsen (SBF)" userId="74d9ad76-6ad5-4aec-9fb2-dc56ea20e484" providerId="ADAL" clId="{F273A419-B322-4C70-94BE-C46F0BC72DC6}" dt="2026-02-25T14:15:38.729" v="6222" actId="20577"/>
          <ac:spMkLst>
            <pc:docMk/>
            <pc:sldMk cId="1321581768" sldId="532"/>
            <ac:spMk id="2" creationId="{3C451733-8A55-C4C8-7D63-AF49855B6319}"/>
          </ac:spMkLst>
        </pc:spChg>
        <pc:spChg chg="mod">
          <ac:chgData name="Steffen Reestorff Frandsen (SBF)" userId="74d9ad76-6ad5-4aec-9fb2-dc56ea20e484" providerId="ADAL" clId="{F273A419-B322-4C70-94BE-C46F0BC72DC6}" dt="2026-02-25T14:15:41.307" v="6223" actId="6549"/>
          <ac:spMkLst>
            <pc:docMk/>
            <pc:sldMk cId="1321581768" sldId="532"/>
            <ac:spMk id="3" creationId="{395A7C57-06FE-9A43-CD3C-7890A46CACA8}"/>
          </ac:spMkLst>
        </pc:spChg>
        <pc:spChg chg="mod">
          <ac:chgData name="Steffen Reestorff Frandsen (SBF)" userId="74d9ad76-6ad5-4aec-9fb2-dc56ea20e484" providerId="ADAL" clId="{F273A419-B322-4C70-94BE-C46F0BC72DC6}" dt="2026-02-25T14:16:20.274" v="6243" actId="20577"/>
          <ac:spMkLst>
            <pc:docMk/>
            <pc:sldMk cId="1321581768" sldId="532"/>
            <ac:spMk id="5" creationId="{4C74BF5D-1171-6F46-DC13-5CA1FBE44A4E}"/>
          </ac:spMkLst>
        </pc:spChg>
      </pc:sldChg>
      <pc:sldChg chg="modSp mod">
        <pc:chgData name="Steffen Reestorff Frandsen (SBF)" userId="74d9ad76-6ad5-4aec-9fb2-dc56ea20e484" providerId="ADAL" clId="{F273A419-B322-4C70-94BE-C46F0BC72DC6}" dt="2026-02-25T15:24:57.859" v="7335" actId="20577"/>
        <pc:sldMkLst>
          <pc:docMk/>
          <pc:sldMk cId="2942881923" sldId="533"/>
        </pc:sldMkLst>
        <pc:spChg chg="mod">
          <ac:chgData name="Steffen Reestorff Frandsen (SBF)" userId="74d9ad76-6ad5-4aec-9fb2-dc56ea20e484" providerId="ADAL" clId="{F273A419-B322-4C70-94BE-C46F0BC72DC6}" dt="2026-02-24T19:37:56.590" v="2286" actId="20577"/>
          <ac:spMkLst>
            <pc:docMk/>
            <pc:sldMk cId="2942881923" sldId="533"/>
            <ac:spMk id="3" creationId="{DFE35C9A-1618-EEA7-2573-DAEDA146B46B}"/>
          </ac:spMkLst>
        </pc:spChg>
        <pc:spChg chg="mod">
          <ac:chgData name="Steffen Reestorff Frandsen (SBF)" userId="74d9ad76-6ad5-4aec-9fb2-dc56ea20e484" providerId="ADAL" clId="{F273A419-B322-4C70-94BE-C46F0BC72DC6}" dt="2026-02-25T15:24:57.859" v="7335" actId="20577"/>
          <ac:spMkLst>
            <pc:docMk/>
            <pc:sldMk cId="2942881923" sldId="533"/>
            <ac:spMk id="5" creationId="{BA168EB9-11E3-2A16-5C21-899C3DCB0E39}"/>
          </ac:spMkLst>
        </pc:spChg>
        <pc:picChg chg="mod">
          <ac:chgData name="Steffen Reestorff Frandsen (SBF)" userId="74d9ad76-6ad5-4aec-9fb2-dc56ea20e484" providerId="ADAL" clId="{F273A419-B322-4C70-94BE-C46F0BC72DC6}" dt="2026-02-24T19:37:37.441" v="2234" actId="1036"/>
          <ac:picMkLst>
            <pc:docMk/>
            <pc:sldMk cId="2942881923" sldId="533"/>
            <ac:picMk id="8" creationId="{E6AF6DD7-B7E6-15C6-3B9F-19A6BA05B048}"/>
          </ac:picMkLst>
        </pc:picChg>
        <pc:picChg chg="mod">
          <ac:chgData name="Steffen Reestorff Frandsen (SBF)" userId="74d9ad76-6ad5-4aec-9fb2-dc56ea20e484" providerId="ADAL" clId="{F273A419-B322-4C70-94BE-C46F0BC72DC6}" dt="2026-02-24T19:37:37.441" v="2234" actId="1036"/>
          <ac:picMkLst>
            <pc:docMk/>
            <pc:sldMk cId="2942881923" sldId="533"/>
            <ac:picMk id="10" creationId="{124B2A69-7E50-2050-2DFA-65444613B573}"/>
          </ac:picMkLst>
        </pc:picChg>
      </pc:sldChg>
      <pc:sldChg chg="modSp mod">
        <pc:chgData name="Steffen Reestorff Frandsen (SBF)" userId="74d9ad76-6ad5-4aec-9fb2-dc56ea20e484" providerId="ADAL" clId="{F273A419-B322-4C70-94BE-C46F0BC72DC6}" dt="2026-02-25T15:25:29.516" v="7344" actId="20577"/>
        <pc:sldMkLst>
          <pc:docMk/>
          <pc:sldMk cId="1602505085" sldId="534"/>
        </pc:sldMkLst>
        <pc:spChg chg="mod">
          <ac:chgData name="Steffen Reestorff Frandsen (SBF)" userId="74d9ad76-6ad5-4aec-9fb2-dc56ea20e484" providerId="ADAL" clId="{F273A419-B322-4C70-94BE-C46F0BC72DC6}" dt="2026-02-25T15:09:54.244" v="6940" actId="20577"/>
          <ac:spMkLst>
            <pc:docMk/>
            <pc:sldMk cId="1602505085" sldId="534"/>
            <ac:spMk id="2" creationId="{29511FB4-3119-7D65-DEE8-FD0495DEF905}"/>
          </ac:spMkLst>
        </pc:spChg>
        <pc:spChg chg="mod">
          <ac:chgData name="Steffen Reestorff Frandsen (SBF)" userId="74d9ad76-6ad5-4aec-9fb2-dc56ea20e484" providerId="ADAL" clId="{F273A419-B322-4C70-94BE-C46F0BC72DC6}" dt="2026-02-25T15:25:29.516" v="7344" actId="20577"/>
          <ac:spMkLst>
            <pc:docMk/>
            <pc:sldMk cId="1602505085" sldId="534"/>
            <ac:spMk id="5" creationId="{C8EFF031-B5F3-28D3-D264-2F7E08F27824}"/>
          </ac:spMkLst>
        </pc:spChg>
      </pc:sldChg>
      <pc:sldChg chg="modSp mod">
        <pc:chgData name="Steffen Reestorff Frandsen (SBF)" userId="74d9ad76-6ad5-4aec-9fb2-dc56ea20e484" providerId="ADAL" clId="{F273A419-B322-4C70-94BE-C46F0BC72DC6}" dt="2026-02-25T15:06:36.033" v="6872" actId="20577"/>
        <pc:sldMkLst>
          <pc:docMk/>
          <pc:sldMk cId="558249199" sldId="535"/>
        </pc:sldMkLst>
        <pc:spChg chg="mod">
          <ac:chgData name="Steffen Reestorff Frandsen (SBF)" userId="74d9ad76-6ad5-4aec-9fb2-dc56ea20e484" providerId="ADAL" clId="{F273A419-B322-4C70-94BE-C46F0BC72DC6}" dt="2026-02-25T15:06:36.033" v="6872" actId="20577"/>
          <ac:spMkLst>
            <pc:docMk/>
            <pc:sldMk cId="558249199" sldId="535"/>
            <ac:spMk id="5" creationId="{4A8A74FB-D59E-2779-EFDD-4CF9A94960C1}"/>
          </ac:spMkLst>
        </pc:spChg>
      </pc:sldChg>
      <pc:sldChg chg="addSp modSp mod">
        <pc:chgData name="Steffen Reestorff Frandsen (SBF)" userId="74d9ad76-6ad5-4aec-9fb2-dc56ea20e484" providerId="ADAL" clId="{F273A419-B322-4C70-94BE-C46F0BC72DC6}" dt="2026-02-25T15:26:30.942" v="7370" actId="114"/>
        <pc:sldMkLst>
          <pc:docMk/>
          <pc:sldMk cId="2015034195" sldId="537"/>
        </pc:sldMkLst>
        <pc:spChg chg="mod">
          <ac:chgData name="Steffen Reestorff Frandsen (SBF)" userId="74d9ad76-6ad5-4aec-9fb2-dc56ea20e484" providerId="ADAL" clId="{F273A419-B322-4C70-94BE-C46F0BC72DC6}" dt="2026-02-25T15:10:03.621" v="6948" actId="20577"/>
          <ac:spMkLst>
            <pc:docMk/>
            <pc:sldMk cId="2015034195" sldId="537"/>
            <ac:spMk id="2" creationId="{2D5960E7-4F0C-A25B-48A1-A26510310A4A}"/>
          </ac:spMkLst>
        </pc:spChg>
        <pc:spChg chg="mod">
          <ac:chgData name="Steffen Reestorff Frandsen (SBF)" userId="74d9ad76-6ad5-4aec-9fb2-dc56ea20e484" providerId="ADAL" clId="{F273A419-B322-4C70-94BE-C46F0BC72DC6}" dt="2026-02-25T15:10:01.122" v="6945" actId="20577"/>
          <ac:spMkLst>
            <pc:docMk/>
            <pc:sldMk cId="2015034195" sldId="537"/>
            <ac:spMk id="3" creationId="{80E3CD11-C059-7B66-6134-0FCFD9E57A59}"/>
          </ac:spMkLst>
        </pc:spChg>
        <pc:spChg chg="mod">
          <ac:chgData name="Steffen Reestorff Frandsen (SBF)" userId="74d9ad76-6ad5-4aec-9fb2-dc56ea20e484" providerId="ADAL" clId="{F273A419-B322-4C70-94BE-C46F0BC72DC6}" dt="2026-02-25T15:26:30.942" v="7370" actId="114"/>
          <ac:spMkLst>
            <pc:docMk/>
            <pc:sldMk cId="2015034195" sldId="537"/>
            <ac:spMk id="5" creationId="{5B417212-D90C-AD16-6498-12CC358B8274}"/>
          </ac:spMkLst>
        </pc:spChg>
        <pc:graphicFrameChg chg="add mod">
          <ac:chgData name="Steffen Reestorff Frandsen (SBF)" userId="74d9ad76-6ad5-4aec-9fb2-dc56ea20e484" providerId="ADAL" clId="{F273A419-B322-4C70-94BE-C46F0BC72DC6}" dt="2026-02-25T09:20:06.079" v="3276"/>
          <ac:graphicFrameMkLst>
            <pc:docMk/>
            <pc:sldMk cId="2015034195" sldId="537"/>
            <ac:graphicFrameMk id="8" creationId="{1C3DFF28-4908-E174-AE0C-2639F98E5DE3}"/>
          </ac:graphicFrameMkLst>
        </pc:graphicFrameChg>
        <pc:picChg chg="mod">
          <ac:chgData name="Steffen Reestorff Frandsen (SBF)" userId="74d9ad76-6ad5-4aec-9fb2-dc56ea20e484" providerId="ADAL" clId="{F273A419-B322-4C70-94BE-C46F0BC72DC6}" dt="2026-02-25T14:36:59.841" v="6588" actId="1036"/>
          <ac:picMkLst>
            <pc:docMk/>
            <pc:sldMk cId="2015034195" sldId="537"/>
            <ac:picMk id="6" creationId="{994B187F-5C3B-8DC4-588A-F940D3F5680F}"/>
          </ac:picMkLst>
        </pc:picChg>
      </pc:sldChg>
      <pc:sldChg chg="modSp mod">
        <pc:chgData name="Steffen Reestorff Frandsen (SBF)" userId="74d9ad76-6ad5-4aec-9fb2-dc56ea20e484" providerId="ADAL" clId="{F273A419-B322-4C70-94BE-C46F0BC72DC6}" dt="2026-02-25T15:26:44.321" v="7372" actId="20577"/>
        <pc:sldMkLst>
          <pc:docMk/>
          <pc:sldMk cId="2605769013" sldId="538"/>
        </pc:sldMkLst>
        <pc:spChg chg="mod">
          <ac:chgData name="Steffen Reestorff Frandsen (SBF)" userId="74d9ad76-6ad5-4aec-9fb2-dc56ea20e484" providerId="ADAL" clId="{F273A419-B322-4C70-94BE-C46F0BC72DC6}" dt="2026-02-25T15:26:44.321" v="7372" actId="20577"/>
          <ac:spMkLst>
            <pc:docMk/>
            <pc:sldMk cId="2605769013" sldId="538"/>
            <ac:spMk id="5" creationId="{F5738EB6-81CD-626D-F326-3B7B36997BA0}"/>
          </ac:spMkLst>
        </pc:spChg>
        <pc:picChg chg="mod">
          <ac:chgData name="Steffen Reestorff Frandsen (SBF)" userId="74d9ad76-6ad5-4aec-9fb2-dc56ea20e484" providerId="ADAL" clId="{F273A419-B322-4C70-94BE-C46F0BC72DC6}" dt="2026-02-24T19:29:42.032" v="1885" actId="14100"/>
          <ac:picMkLst>
            <pc:docMk/>
            <pc:sldMk cId="2605769013" sldId="538"/>
            <ac:picMk id="9" creationId="{652984DB-31B3-ABD0-3625-CBB65E0CE454}"/>
          </ac:picMkLst>
        </pc:picChg>
      </pc:sldChg>
      <pc:sldChg chg="modSp mod">
        <pc:chgData name="Steffen Reestorff Frandsen (SBF)" userId="74d9ad76-6ad5-4aec-9fb2-dc56ea20e484" providerId="ADAL" clId="{F273A419-B322-4C70-94BE-C46F0BC72DC6}" dt="2026-02-25T15:28:06.589" v="7385" actId="12"/>
        <pc:sldMkLst>
          <pc:docMk/>
          <pc:sldMk cId="2470245096" sldId="539"/>
        </pc:sldMkLst>
        <pc:spChg chg="mod">
          <ac:chgData name="Steffen Reestorff Frandsen (SBF)" userId="74d9ad76-6ad5-4aec-9fb2-dc56ea20e484" providerId="ADAL" clId="{F273A419-B322-4C70-94BE-C46F0BC72DC6}" dt="2026-02-25T15:28:06.589" v="7385" actId="12"/>
          <ac:spMkLst>
            <pc:docMk/>
            <pc:sldMk cId="2470245096" sldId="539"/>
            <ac:spMk id="5" creationId="{ECEE66A5-3C60-9755-D1B0-4D4CDC72D43E}"/>
          </ac:spMkLst>
        </pc:spChg>
      </pc:sldChg>
      <pc:sldChg chg="addSp delSp modSp new mod">
        <pc:chgData name="Steffen Reestorff Frandsen (SBF)" userId="74d9ad76-6ad5-4aec-9fb2-dc56ea20e484" providerId="ADAL" clId="{F273A419-B322-4C70-94BE-C46F0BC72DC6}" dt="2026-02-25T14:14:00.930" v="6133" actId="20577"/>
        <pc:sldMkLst>
          <pc:docMk/>
          <pc:sldMk cId="3860184013" sldId="541"/>
        </pc:sldMkLst>
        <pc:spChg chg="mod">
          <ac:chgData name="Steffen Reestorff Frandsen (SBF)" userId="74d9ad76-6ad5-4aec-9fb2-dc56ea20e484" providerId="ADAL" clId="{F273A419-B322-4C70-94BE-C46F0BC72DC6}" dt="2026-02-25T14:14:00.930" v="6133" actId="20577"/>
          <ac:spMkLst>
            <pc:docMk/>
            <pc:sldMk cId="3860184013" sldId="541"/>
            <ac:spMk id="2" creationId="{BBC62514-A6C1-C867-BEC6-F3756CAD7C20}"/>
          </ac:spMkLst>
        </pc:spChg>
        <pc:spChg chg="del">
          <ac:chgData name="Steffen Reestorff Frandsen (SBF)" userId="74d9ad76-6ad5-4aec-9fb2-dc56ea20e484" providerId="ADAL" clId="{F273A419-B322-4C70-94BE-C46F0BC72DC6}" dt="2026-02-25T13:46:02.386" v="5420" actId="26606"/>
          <ac:spMkLst>
            <pc:docMk/>
            <pc:sldMk cId="3860184013" sldId="541"/>
            <ac:spMk id="3" creationId="{1A062DD5-6E85-C0B5-16DB-0CAD1D44BA5A}"/>
          </ac:spMkLst>
        </pc:spChg>
        <pc:spChg chg="mod">
          <ac:chgData name="Steffen Reestorff Frandsen (SBF)" userId="74d9ad76-6ad5-4aec-9fb2-dc56ea20e484" providerId="ADAL" clId="{F273A419-B322-4C70-94BE-C46F0BC72DC6}" dt="2026-02-25T13:46:02.386" v="5420" actId="26606"/>
          <ac:spMkLst>
            <pc:docMk/>
            <pc:sldMk cId="3860184013" sldId="541"/>
            <ac:spMk id="4" creationId="{2095A05C-542D-5E17-8DD7-AFA47A9AC0DD}"/>
          </ac:spMkLst>
        </pc:spChg>
        <pc:spChg chg="del">
          <ac:chgData name="Steffen Reestorff Frandsen (SBF)" userId="74d9ad76-6ad5-4aec-9fb2-dc56ea20e484" providerId="ADAL" clId="{F273A419-B322-4C70-94BE-C46F0BC72DC6}" dt="2026-02-25T13:46:02.386" v="5420" actId="26606"/>
          <ac:spMkLst>
            <pc:docMk/>
            <pc:sldMk cId="3860184013" sldId="541"/>
            <ac:spMk id="5" creationId="{DD0642E4-5DD0-3E9A-2C2B-9E3540C318D1}"/>
          </ac:spMkLst>
        </pc:spChg>
        <pc:spChg chg="mod ord">
          <ac:chgData name="Steffen Reestorff Frandsen (SBF)" userId="74d9ad76-6ad5-4aec-9fb2-dc56ea20e484" providerId="ADAL" clId="{F273A419-B322-4C70-94BE-C46F0BC72DC6}" dt="2026-02-25T14:08:04.418" v="6099"/>
          <ac:spMkLst>
            <pc:docMk/>
            <pc:sldMk cId="3860184013" sldId="541"/>
            <ac:spMk id="6" creationId="{87D6B51E-A987-7DE1-61DD-20D2673B1B34}"/>
          </ac:spMkLst>
        </pc:spChg>
        <pc:spChg chg="add del">
          <ac:chgData name="Steffen Reestorff Frandsen (SBF)" userId="74d9ad76-6ad5-4aec-9fb2-dc56ea20e484" providerId="ADAL" clId="{F273A419-B322-4C70-94BE-C46F0BC72DC6}" dt="2026-02-25T12:57:17.206" v="4381" actId="22"/>
          <ac:spMkLst>
            <pc:docMk/>
            <pc:sldMk cId="3860184013" sldId="541"/>
            <ac:spMk id="8" creationId="{D081BF40-0FE0-7544-2777-66F725031F42}"/>
          </ac:spMkLst>
        </pc:spChg>
        <pc:spChg chg="add">
          <ac:chgData name="Steffen Reestorff Frandsen (SBF)" userId="74d9ad76-6ad5-4aec-9fb2-dc56ea20e484" providerId="ADAL" clId="{F273A419-B322-4C70-94BE-C46F0BC72DC6}" dt="2026-02-25T13:46:02.386" v="5420" actId="26606"/>
          <ac:spMkLst>
            <pc:docMk/>
            <pc:sldMk cId="3860184013" sldId="541"/>
            <ac:spMk id="19" creationId="{561B48D4-D409-023A-1ACE-E7838977B1FA}"/>
          </ac:spMkLst>
        </pc:spChg>
        <pc:picChg chg="add del">
          <ac:chgData name="Steffen Reestorff Frandsen (SBF)" userId="74d9ad76-6ad5-4aec-9fb2-dc56ea20e484" providerId="ADAL" clId="{F273A419-B322-4C70-94BE-C46F0BC72DC6}" dt="2026-02-25T13:19:08.516" v="5188" actId="22"/>
          <ac:picMkLst>
            <pc:docMk/>
            <pc:sldMk cId="3860184013" sldId="541"/>
            <ac:picMk id="10" creationId="{022EF42B-1D1C-5E91-0A3E-D09B11BE8A91}"/>
          </ac:picMkLst>
        </pc:picChg>
        <pc:picChg chg="add del mod modCrop">
          <ac:chgData name="Steffen Reestorff Frandsen (SBF)" userId="74d9ad76-6ad5-4aec-9fb2-dc56ea20e484" providerId="ADAL" clId="{F273A419-B322-4C70-94BE-C46F0BC72DC6}" dt="2026-02-25T13:45:31.060" v="5394" actId="478"/>
          <ac:picMkLst>
            <pc:docMk/>
            <pc:sldMk cId="3860184013" sldId="541"/>
            <ac:picMk id="12" creationId="{BE76F3F4-5B77-E3C2-6486-3436AB96D7A9}"/>
          </ac:picMkLst>
        </pc:picChg>
        <pc:picChg chg="add mod modCrop">
          <ac:chgData name="Steffen Reestorff Frandsen (SBF)" userId="74d9ad76-6ad5-4aec-9fb2-dc56ea20e484" providerId="ADAL" clId="{F273A419-B322-4C70-94BE-C46F0BC72DC6}" dt="2026-02-25T13:46:14.181" v="5423" actId="14100"/>
          <ac:picMkLst>
            <pc:docMk/>
            <pc:sldMk cId="3860184013" sldId="541"/>
            <ac:picMk id="14" creationId="{5FAA9348-C8D7-0280-94D2-16D4A7E74E7E}"/>
          </ac:picMkLst>
        </pc:picChg>
      </pc:sldChg>
      <pc:sldChg chg="addSp delSp modSp add mod ord">
        <pc:chgData name="Steffen Reestorff Frandsen (SBF)" userId="74d9ad76-6ad5-4aec-9fb2-dc56ea20e484" providerId="ADAL" clId="{F273A419-B322-4C70-94BE-C46F0BC72DC6}" dt="2026-02-25T15:34:09.137" v="7500" actId="20577"/>
        <pc:sldMkLst>
          <pc:docMk/>
          <pc:sldMk cId="377261780" sldId="542"/>
        </pc:sldMkLst>
        <pc:spChg chg="mod">
          <ac:chgData name="Steffen Reestorff Frandsen (SBF)" userId="74d9ad76-6ad5-4aec-9fb2-dc56ea20e484" providerId="ADAL" clId="{F273A419-B322-4C70-94BE-C46F0BC72DC6}" dt="2026-02-25T15:31:42.131" v="7468" actId="20577"/>
          <ac:spMkLst>
            <pc:docMk/>
            <pc:sldMk cId="377261780" sldId="542"/>
            <ac:spMk id="2" creationId="{63A35981-ADF6-FE94-7F1A-C3596B342040}"/>
          </ac:spMkLst>
        </pc:spChg>
        <pc:spChg chg="mod">
          <ac:chgData name="Steffen Reestorff Frandsen (SBF)" userId="74d9ad76-6ad5-4aec-9fb2-dc56ea20e484" providerId="ADAL" clId="{F273A419-B322-4C70-94BE-C46F0BC72DC6}" dt="2026-02-25T14:08:41.527" v="6115" actId="5793"/>
          <ac:spMkLst>
            <pc:docMk/>
            <pc:sldMk cId="377261780" sldId="542"/>
            <ac:spMk id="3" creationId="{19179569-7F46-B158-1F43-38E53CE9CFCB}"/>
          </ac:spMkLst>
        </pc:spChg>
        <pc:spChg chg="mod">
          <ac:chgData name="Steffen Reestorff Frandsen (SBF)" userId="74d9ad76-6ad5-4aec-9fb2-dc56ea20e484" providerId="ADAL" clId="{F273A419-B322-4C70-94BE-C46F0BC72DC6}" dt="2026-02-25T15:34:09.137" v="7500" actId="20577"/>
          <ac:spMkLst>
            <pc:docMk/>
            <pc:sldMk cId="377261780" sldId="542"/>
            <ac:spMk id="5" creationId="{3D1C9285-D182-7DA0-24D3-31BA460D4897}"/>
          </ac:spMkLst>
        </pc:spChg>
        <pc:graphicFrameChg chg="add del mod modGraphic">
          <ac:chgData name="Steffen Reestorff Frandsen (SBF)" userId="74d9ad76-6ad5-4aec-9fb2-dc56ea20e484" providerId="ADAL" clId="{F273A419-B322-4C70-94BE-C46F0BC72DC6}" dt="2026-02-25T13:01:53.804" v="4876" actId="478"/>
          <ac:graphicFrameMkLst>
            <pc:docMk/>
            <pc:sldMk cId="377261780" sldId="542"/>
            <ac:graphicFrameMk id="6" creationId="{5110372A-DF81-A750-E19F-DD8DD11B1938}"/>
          </ac:graphicFrameMkLst>
        </pc:graphicFrameChg>
      </pc:sldChg>
      <pc:sldChg chg="add del">
        <pc:chgData name="Steffen Reestorff Frandsen (SBF)" userId="74d9ad76-6ad5-4aec-9fb2-dc56ea20e484" providerId="ADAL" clId="{F273A419-B322-4C70-94BE-C46F0BC72DC6}" dt="2026-02-25T14:14:43.535" v="6182" actId="47"/>
        <pc:sldMkLst>
          <pc:docMk/>
          <pc:sldMk cId="2655855381" sldId="543"/>
        </pc:sldMkLst>
      </pc:sldChg>
      <pc:sldChg chg="addSp delSp modSp new mod modClrScheme chgLayout">
        <pc:chgData name="Steffen Reestorff Frandsen (SBF)" userId="74d9ad76-6ad5-4aec-9fb2-dc56ea20e484" providerId="ADAL" clId="{F273A419-B322-4C70-94BE-C46F0BC72DC6}" dt="2026-02-25T15:35:08.468" v="7505" actId="12"/>
        <pc:sldMkLst>
          <pc:docMk/>
          <pc:sldMk cId="1785060485" sldId="544"/>
        </pc:sldMkLst>
        <pc:spChg chg="mod">
          <ac:chgData name="Steffen Reestorff Frandsen (SBF)" userId="74d9ad76-6ad5-4aec-9fb2-dc56ea20e484" providerId="ADAL" clId="{F273A419-B322-4C70-94BE-C46F0BC72DC6}" dt="2026-02-25T15:17:07.244" v="7123" actId="20577"/>
          <ac:spMkLst>
            <pc:docMk/>
            <pc:sldMk cId="1785060485" sldId="544"/>
            <ac:spMk id="2" creationId="{F52972F8-C483-BFCB-0691-A5A9DFF7D5C5}"/>
          </ac:spMkLst>
        </pc:spChg>
        <pc:spChg chg="del">
          <ac:chgData name="Steffen Reestorff Frandsen (SBF)" userId="74d9ad76-6ad5-4aec-9fb2-dc56ea20e484" providerId="ADAL" clId="{F273A419-B322-4C70-94BE-C46F0BC72DC6}" dt="2026-02-25T14:29:00.914" v="6306" actId="26606"/>
          <ac:spMkLst>
            <pc:docMk/>
            <pc:sldMk cId="1785060485" sldId="544"/>
            <ac:spMk id="3" creationId="{419578BB-242F-5E2A-BB5C-CA71535E8EC8}"/>
          </ac:spMkLst>
        </pc:spChg>
        <pc:spChg chg="mod ord">
          <ac:chgData name="Steffen Reestorff Frandsen (SBF)" userId="74d9ad76-6ad5-4aec-9fb2-dc56ea20e484" providerId="ADAL" clId="{F273A419-B322-4C70-94BE-C46F0BC72DC6}" dt="2026-02-25T14:29:00.914" v="6306" actId="26606"/>
          <ac:spMkLst>
            <pc:docMk/>
            <pc:sldMk cId="1785060485" sldId="544"/>
            <ac:spMk id="4" creationId="{07A63559-923E-B423-1589-1377ACA8C093}"/>
          </ac:spMkLst>
        </pc:spChg>
        <pc:spChg chg="mod">
          <ac:chgData name="Steffen Reestorff Frandsen (SBF)" userId="74d9ad76-6ad5-4aec-9fb2-dc56ea20e484" providerId="ADAL" clId="{F273A419-B322-4C70-94BE-C46F0BC72DC6}" dt="2026-02-25T15:35:08.468" v="7505" actId="12"/>
          <ac:spMkLst>
            <pc:docMk/>
            <pc:sldMk cId="1785060485" sldId="544"/>
            <ac:spMk id="5" creationId="{2CBF1C1C-D689-5912-4DEA-04996DCFF512}"/>
          </ac:spMkLst>
        </pc:spChg>
        <pc:spChg chg="del">
          <ac:chgData name="Steffen Reestorff Frandsen (SBF)" userId="74d9ad76-6ad5-4aec-9fb2-dc56ea20e484" providerId="ADAL" clId="{F273A419-B322-4C70-94BE-C46F0BC72DC6}" dt="2026-02-25T13:54:04.516" v="5541" actId="478"/>
          <ac:spMkLst>
            <pc:docMk/>
            <pc:sldMk cId="1785060485" sldId="544"/>
            <ac:spMk id="6" creationId="{6AA7ADF1-FBA1-5AC9-3B6F-787D59BB4290}"/>
          </ac:spMkLst>
        </pc:spChg>
        <pc:spChg chg="add mod">
          <ac:chgData name="Steffen Reestorff Frandsen (SBF)" userId="74d9ad76-6ad5-4aec-9fb2-dc56ea20e484" providerId="ADAL" clId="{F273A419-B322-4C70-94BE-C46F0BC72DC6}" dt="2026-02-25T14:29:00.914" v="6306" actId="26606"/>
          <ac:spMkLst>
            <pc:docMk/>
            <pc:sldMk cId="1785060485" sldId="544"/>
            <ac:spMk id="3080" creationId="{369B2A0A-40D4-EDBD-3013-AEF142A00F91}"/>
          </ac:spMkLst>
        </pc:spChg>
        <pc:picChg chg="add del mod">
          <ac:chgData name="Steffen Reestorff Frandsen (SBF)" userId="74d9ad76-6ad5-4aec-9fb2-dc56ea20e484" providerId="ADAL" clId="{F273A419-B322-4C70-94BE-C46F0BC72DC6}" dt="2026-02-25T14:26:53.490" v="6295" actId="478"/>
          <ac:picMkLst>
            <pc:docMk/>
            <pc:sldMk cId="1785060485" sldId="544"/>
            <ac:picMk id="3074" creationId="{1DD59ED4-8E9B-4761-9474-AD8EF0FBAA2F}"/>
          </ac:picMkLst>
        </pc:picChg>
        <pc:picChg chg="add mod">
          <ac:chgData name="Steffen Reestorff Frandsen (SBF)" userId="74d9ad76-6ad5-4aec-9fb2-dc56ea20e484" providerId="ADAL" clId="{F273A419-B322-4C70-94BE-C46F0BC72DC6}" dt="2026-02-25T14:29:00.914" v="6306" actId="26606"/>
          <ac:picMkLst>
            <pc:docMk/>
            <pc:sldMk cId="1785060485" sldId="544"/>
            <ac:picMk id="3075" creationId="{BBD221DE-5FCD-59EE-4316-175569B39772}"/>
          </ac:picMkLst>
        </pc:picChg>
      </pc:sldChg>
      <pc:sldChg chg="new del">
        <pc:chgData name="Steffen Reestorff Frandsen (SBF)" userId="74d9ad76-6ad5-4aec-9fb2-dc56ea20e484" providerId="ADAL" clId="{F273A419-B322-4C70-94BE-C46F0BC72DC6}" dt="2026-02-25T14:28:40.861" v="6305" actId="47"/>
        <pc:sldMkLst>
          <pc:docMk/>
          <pc:sldMk cId="2940031772" sldId="545"/>
        </pc:sldMkLst>
      </pc:sldChg>
      <pc:sldMasterChg chg="delSldLayout">
        <pc:chgData name="Steffen Reestorff Frandsen (SBF)" userId="74d9ad76-6ad5-4aec-9fb2-dc56ea20e484" providerId="ADAL" clId="{F273A419-B322-4C70-94BE-C46F0BC72DC6}" dt="2026-02-25T14:33:11.830" v="6514" actId="47"/>
        <pc:sldMasterMkLst>
          <pc:docMk/>
          <pc:sldMasterMk cId="3213367030" sldId="2147484602"/>
        </pc:sldMasterMkLst>
        <pc:sldLayoutChg chg="del">
          <pc:chgData name="Steffen Reestorff Frandsen (SBF)" userId="74d9ad76-6ad5-4aec-9fb2-dc56ea20e484" providerId="ADAL" clId="{F273A419-B322-4C70-94BE-C46F0BC72DC6}" dt="2026-02-25T14:33:11.830" v="6514" actId="47"/>
          <pc:sldLayoutMkLst>
            <pc:docMk/>
            <pc:sldMasterMk cId="3213367030" sldId="2147484602"/>
            <pc:sldLayoutMk cId="239699693" sldId="2147484646"/>
          </pc:sldLayoutMkLst>
        </pc:sldLayoutChg>
      </pc:sldMasterChg>
    </pc:docChg>
  </pc:docChgLst>
  <pc:docChgLst>
    <pc:chgData name="Steffen Reestorff Frandsen (SBF)" userId="S::sbf_niras.dk#ext#@wsponline.onmicrosoft.com::65d26b19-0cc6-4ee9-b885-c9d3beef0ca3" providerId="AD" clId="Web-{1AB381AE-1826-E7B9-4D9F-B26543741DFD}"/>
    <pc:docChg chg="addSld delSld modSld sldOrd">
      <pc:chgData name="Steffen Reestorff Frandsen (SBF)" userId="S::sbf_niras.dk#ext#@wsponline.onmicrosoft.com::65d26b19-0cc6-4ee9-b885-c9d3beef0ca3" providerId="AD" clId="Web-{1AB381AE-1826-E7B9-4D9F-B26543741DFD}" dt="2026-02-24T14:34:37.650" v="1070" actId="14100"/>
      <pc:docMkLst>
        <pc:docMk/>
      </pc:docMkLst>
      <pc:sldChg chg="add del">
        <pc:chgData name="Steffen Reestorff Frandsen (SBF)" userId="S::sbf_niras.dk#ext#@wsponline.onmicrosoft.com::65d26b19-0cc6-4ee9-b885-c9d3beef0ca3" providerId="AD" clId="Web-{1AB381AE-1826-E7B9-4D9F-B26543741DFD}" dt="2026-02-24T14:33:43.490" v="1064"/>
        <pc:sldMkLst>
          <pc:docMk/>
          <pc:sldMk cId="698177667" sldId="303"/>
        </pc:sldMkLst>
      </pc:sldChg>
      <pc:sldChg chg="modSp">
        <pc:chgData name="Steffen Reestorff Frandsen (SBF)" userId="S::sbf_niras.dk#ext#@wsponline.onmicrosoft.com::65d26b19-0cc6-4ee9-b885-c9d3beef0ca3" providerId="AD" clId="Web-{1AB381AE-1826-E7B9-4D9F-B26543741DFD}" dt="2026-02-24T14:34:37.650" v="1070" actId="14100"/>
        <pc:sldMkLst>
          <pc:docMk/>
          <pc:sldMk cId="1913139638" sldId="521"/>
        </pc:sldMkLst>
        <pc:spChg chg="mod">
          <ac:chgData name="Steffen Reestorff Frandsen (SBF)" userId="S::sbf_niras.dk#ext#@wsponline.onmicrosoft.com::65d26b19-0cc6-4ee9-b885-c9d3beef0ca3" providerId="AD" clId="Web-{1AB381AE-1826-E7B9-4D9F-B26543741DFD}" dt="2026-02-24T14:34:12.945" v="1066" actId="20577"/>
          <ac:spMkLst>
            <pc:docMk/>
            <pc:sldMk cId="1913139638" sldId="521"/>
            <ac:spMk id="5" creationId="{3B92BC1F-F0CA-B27E-249F-5D02DD11DA6F}"/>
          </ac:spMkLst>
        </pc:spChg>
        <pc:picChg chg="mod modCrop">
          <ac:chgData name="Steffen Reestorff Frandsen (SBF)" userId="S::sbf_niras.dk#ext#@wsponline.onmicrosoft.com::65d26b19-0cc6-4ee9-b885-c9d3beef0ca3" providerId="AD" clId="Web-{1AB381AE-1826-E7B9-4D9F-B26543741DFD}" dt="2026-02-24T14:34:37.650" v="1070" actId="14100"/>
          <ac:picMkLst>
            <pc:docMk/>
            <pc:sldMk cId="1913139638" sldId="521"/>
            <ac:picMk id="7" creationId="{420466F3-FDEF-0C54-9E71-32502C1E37DC}"/>
          </ac:picMkLst>
        </pc:picChg>
      </pc:sldChg>
      <pc:sldChg chg="del">
        <pc:chgData name="Steffen Reestorff Frandsen (SBF)" userId="S::sbf_niras.dk#ext#@wsponline.onmicrosoft.com::65d26b19-0cc6-4ee9-b885-c9d3beef0ca3" providerId="AD" clId="Web-{1AB381AE-1826-E7B9-4D9F-B26543741DFD}" dt="2026-02-24T13:52:34.702" v="628"/>
        <pc:sldMkLst>
          <pc:docMk/>
          <pc:sldMk cId="1756279256" sldId="523"/>
        </pc:sldMkLst>
      </pc:sldChg>
      <pc:sldChg chg="del">
        <pc:chgData name="Steffen Reestorff Frandsen (SBF)" userId="S::sbf_niras.dk#ext#@wsponline.onmicrosoft.com::65d26b19-0cc6-4ee9-b885-c9d3beef0ca3" providerId="AD" clId="Web-{1AB381AE-1826-E7B9-4D9F-B26543741DFD}" dt="2026-02-24T13:59:04.976" v="731"/>
        <pc:sldMkLst>
          <pc:docMk/>
          <pc:sldMk cId="3500009434" sldId="524"/>
        </pc:sldMkLst>
      </pc:sldChg>
      <pc:sldChg chg="modSp">
        <pc:chgData name="Steffen Reestorff Frandsen (SBF)" userId="S::sbf_niras.dk#ext#@wsponline.onmicrosoft.com::65d26b19-0cc6-4ee9-b885-c9d3beef0ca3" providerId="AD" clId="Web-{1AB381AE-1826-E7B9-4D9F-B26543741DFD}" dt="2026-02-24T14:24:09.577" v="968" actId="20577"/>
        <pc:sldMkLst>
          <pc:docMk/>
          <pc:sldMk cId="2942881923" sldId="533"/>
        </pc:sldMkLst>
        <pc:spChg chg="mod">
          <ac:chgData name="Steffen Reestorff Frandsen (SBF)" userId="S::sbf_niras.dk#ext#@wsponline.onmicrosoft.com::65d26b19-0cc6-4ee9-b885-c9d3beef0ca3" providerId="AD" clId="Web-{1AB381AE-1826-E7B9-4D9F-B26543741DFD}" dt="2026-02-24T13:20:06.584" v="135" actId="20577"/>
          <ac:spMkLst>
            <pc:docMk/>
            <pc:sldMk cId="2942881923" sldId="533"/>
            <ac:spMk id="2" creationId="{1E46143B-097D-BE37-E8DF-665D5A7C46B7}"/>
          </ac:spMkLst>
        </pc:spChg>
        <pc:spChg chg="mod">
          <ac:chgData name="Steffen Reestorff Frandsen (SBF)" userId="S::sbf_niras.dk#ext#@wsponline.onmicrosoft.com::65d26b19-0cc6-4ee9-b885-c9d3beef0ca3" providerId="AD" clId="Web-{1AB381AE-1826-E7B9-4D9F-B26543741DFD}" dt="2026-02-24T14:24:09.577" v="968" actId="20577"/>
          <ac:spMkLst>
            <pc:docMk/>
            <pc:sldMk cId="2942881923" sldId="533"/>
            <ac:spMk id="5" creationId="{BA168EB9-11E3-2A16-5C21-899C3DCB0E39}"/>
          </ac:spMkLst>
        </pc:spChg>
      </pc:sldChg>
      <pc:sldChg chg="addSp delSp modSp ord">
        <pc:chgData name="Steffen Reestorff Frandsen (SBF)" userId="S::sbf_niras.dk#ext#@wsponline.onmicrosoft.com::65d26b19-0cc6-4ee9-b885-c9d3beef0ca3" providerId="AD" clId="Web-{1AB381AE-1826-E7B9-4D9F-B26543741DFD}" dt="2026-02-24T13:33:27.484" v="474" actId="20577"/>
        <pc:sldMkLst>
          <pc:docMk/>
          <pc:sldMk cId="1602505085" sldId="534"/>
        </pc:sldMkLst>
        <pc:spChg chg="mod">
          <ac:chgData name="Steffen Reestorff Frandsen (SBF)" userId="S::sbf_niras.dk#ext#@wsponline.onmicrosoft.com::65d26b19-0cc6-4ee9-b885-c9d3beef0ca3" providerId="AD" clId="Web-{1AB381AE-1826-E7B9-4D9F-B26543741DFD}" dt="2026-02-24T13:20:03.271" v="134" actId="20577"/>
          <ac:spMkLst>
            <pc:docMk/>
            <pc:sldMk cId="1602505085" sldId="534"/>
            <ac:spMk id="2" creationId="{29511FB4-3119-7D65-DEE8-FD0495DEF905}"/>
          </ac:spMkLst>
        </pc:spChg>
        <pc:spChg chg="mod">
          <ac:chgData name="Steffen Reestorff Frandsen (SBF)" userId="S::sbf_niras.dk#ext#@wsponline.onmicrosoft.com::65d26b19-0cc6-4ee9-b885-c9d3beef0ca3" providerId="AD" clId="Web-{1AB381AE-1826-E7B9-4D9F-B26543741DFD}" dt="2026-02-24T13:33:27.484" v="474" actId="20577"/>
          <ac:spMkLst>
            <pc:docMk/>
            <pc:sldMk cId="1602505085" sldId="534"/>
            <ac:spMk id="5" creationId="{C8EFF031-B5F3-28D3-D264-2F7E08F27824}"/>
          </ac:spMkLst>
        </pc:spChg>
        <pc:picChg chg="add del mod">
          <ac:chgData name="Steffen Reestorff Frandsen (SBF)" userId="S::sbf_niras.dk#ext#@wsponline.onmicrosoft.com::65d26b19-0cc6-4ee9-b885-c9d3beef0ca3" providerId="AD" clId="Web-{1AB381AE-1826-E7B9-4D9F-B26543741DFD}" dt="2026-02-24T13:19:41.489" v="131"/>
          <ac:picMkLst>
            <pc:docMk/>
            <pc:sldMk cId="1602505085" sldId="534"/>
            <ac:picMk id="6" creationId="{D0861F5F-0A4F-4F95-88F1-9FFADDCCB2BA}"/>
          </ac:picMkLst>
        </pc:picChg>
        <pc:picChg chg="mod">
          <ac:chgData name="Steffen Reestorff Frandsen (SBF)" userId="S::sbf_niras.dk#ext#@wsponline.onmicrosoft.com::65d26b19-0cc6-4ee9-b885-c9d3beef0ca3" providerId="AD" clId="Web-{1AB381AE-1826-E7B9-4D9F-B26543741DFD}" dt="2026-02-24T13:07:52.044" v="42" actId="1076"/>
          <ac:picMkLst>
            <pc:docMk/>
            <pc:sldMk cId="1602505085" sldId="534"/>
            <ac:picMk id="11" creationId="{6729C70B-AF24-07C5-8D58-90BC6EADF5B7}"/>
          </ac:picMkLst>
        </pc:picChg>
      </pc:sldChg>
      <pc:sldChg chg="addSp modSp add replId">
        <pc:chgData name="Steffen Reestorff Frandsen (SBF)" userId="S::sbf_niras.dk#ext#@wsponline.onmicrosoft.com::65d26b19-0cc6-4ee9-b885-c9d3beef0ca3" providerId="AD" clId="Web-{1AB381AE-1826-E7B9-4D9F-B26543741DFD}" dt="2026-02-24T14:23:42.296" v="959" actId="20577"/>
        <pc:sldMkLst>
          <pc:docMk/>
          <pc:sldMk cId="2015034195" sldId="537"/>
        </pc:sldMkLst>
        <pc:spChg chg="mod">
          <ac:chgData name="Steffen Reestorff Frandsen (SBF)" userId="S::sbf_niras.dk#ext#@wsponline.onmicrosoft.com::65d26b19-0cc6-4ee9-b885-c9d3beef0ca3" providerId="AD" clId="Web-{1AB381AE-1826-E7B9-4D9F-B26543741DFD}" dt="2026-02-24T13:20:13.147" v="140" actId="20577"/>
          <ac:spMkLst>
            <pc:docMk/>
            <pc:sldMk cId="2015034195" sldId="537"/>
            <ac:spMk id="2" creationId="{2D5960E7-4F0C-A25B-48A1-A26510310A4A}"/>
          </ac:spMkLst>
        </pc:spChg>
        <pc:spChg chg="mod">
          <ac:chgData name="Steffen Reestorff Frandsen (SBF)" userId="S::sbf_niras.dk#ext#@wsponline.onmicrosoft.com::65d26b19-0cc6-4ee9-b885-c9d3beef0ca3" providerId="AD" clId="Web-{1AB381AE-1826-E7B9-4D9F-B26543741DFD}" dt="2026-02-24T13:20:21.881" v="143" actId="20577"/>
          <ac:spMkLst>
            <pc:docMk/>
            <pc:sldMk cId="2015034195" sldId="537"/>
            <ac:spMk id="3" creationId="{80E3CD11-C059-7B66-6134-0FCFD9E57A59}"/>
          </ac:spMkLst>
        </pc:spChg>
        <pc:spChg chg="mod">
          <ac:chgData name="Steffen Reestorff Frandsen (SBF)" userId="S::sbf_niras.dk#ext#@wsponline.onmicrosoft.com::65d26b19-0cc6-4ee9-b885-c9d3beef0ca3" providerId="AD" clId="Web-{1AB381AE-1826-E7B9-4D9F-B26543741DFD}" dt="2026-02-24T14:23:42.296" v="959" actId="20577"/>
          <ac:spMkLst>
            <pc:docMk/>
            <pc:sldMk cId="2015034195" sldId="537"/>
            <ac:spMk id="5" creationId="{5B417212-D90C-AD16-6498-12CC358B8274}"/>
          </ac:spMkLst>
        </pc:spChg>
        <pc:picChg chg="add mod">
          <ac:chgData name="Steffen Reestorff Frandsen (SBF)" userId="S::sbf_niras.dk#ext#@wsponline.onmicrosoft.com::65d26b19-0cc6-4ee9-b885-c9d3beef0ca3" providerId="AD" clId="Web-{1AB381AE-1826-E7B9-4D9F-B26543741DFD}" dt="2026-02-24T13:51:27.091" v="594" actId="1076"/>
          <ac:picMkLst>
            <pc:docMk/>
            <pc:sldMk cId="2015034195" sldId="537"/>
            <ac:picMk id="6" creationId="{994B187F-5C3B-8DC4-588A-F940D3F5680F}"/>
          </ac:picMkLst>
        </pc:picChg>
      </pc:sldChg>
      <pc:sldChg chg="addSp delSp modSp add replId">
        <pc:chgData name="Steffen Reestorff Frandsen (SBF)" userId="S::sbf_niras.dk#ext#@wsponline.onmicrosoft.com::65d26b19-0cc6-4ee9-b885-c9d3beef0ca3" providerId="AD" clId="Web-{1AB381AE-1826-E7B9-4D9F-B26543741DFD}" dt="2026-02-24T14:32:47.924" v="1051" actId="20577"/>
        <pc:sldMkLst>
          <pc:docMk/>
          <pc:sldMk cId="2605769013" sldId="538"/>
        </pc:sldMkLst>
        <pc:spChg chg="mod">
          <ac:chgData name="Steffen Reestorff Frandsen (SBF)" userId="S::sbf_niras.dk#ext#@wsponline.onmicrosoft.com::65d26b19-0cc6-4ee9-b885-c9d3beef0ca3" providerId="AD" clId="Web-{1AB381AE-1826-E7B9-4D9F-B26543741DFD}" dt="2026-02-24T13:52:09.951" v="613" actId="20577"/>
          <ac:spMkLst>
            <pc:docMk/>
            <pc:sldMk cId="2605769013" sldId="538"/>
            <ac:spMk id="2" creationId="{1E4FA1A9-2A16-30A0-50ED-29C1816A45DB}"/>
          </ac:spMkLst>
        </pc:spChg>
        <pc:spChg chg="del mod">
          <ac:chgData name="Steffen Reestorff Frandsen (SBF)" userId="S::sbf_niras.dk#ext#@wsponline.onmicrosoft.com::65d26b19-0cc6-4ee9-b885-c9d3beef0ca3" providerId="AD" clId="Web-{1AB381AE-1826-E7B9-4D9F-B26543741DFD}" dt="2026-02-24T14:00:03.711" v="769"/>
          <ac:spMkLst>
            <pc:docMk/>
            <pc:sldMk cId="2605769013" sldId="538"/>
            <ac:spMk id="3" creationId="{CEE48572-A7BA-9558-F2D4-0126A43BE7E3}"/>
          </ac:spMkLst>
        </pc:spChg>
        <pc:spChg chg="mod">
          <ac:chgData name="Steffen Reestorff Frandsen (SBF)" userId="S::sbf_niras.dk#ext#@wsponline.onmicrosoft.com::65d26b19-0cc6-4ee9-b885-c9d3beef0ca3" providerId="AD" clId="Web-{1AB381AE-1826-E7B9-4D9F-B26543741DFD}" dt="2026-02-24T14:32:47.924" v="1051" actId="20577"/>
          <ac:spMkLst>
            <pc:docMk/>
            <pc:sldMk cId="2605769013" sldId="538"/>
            <ac:spMk id="5" creationId="{F5738EB6-81CD-626D-F326-3B7B36997BA0}"/>
          </ac:spMkLst>
        </pc:spChg>
        <pc:spChg chg="add del mod">
          <ac:chgData name="Steffen Reestorff Frandsen (SBF)" userId="S::sbf_niras.dk#ext#@wsponline.onmicrosoft.com::65d26b19-0cc6-4ee9-b885-c9d3beef0ca3" providerId="AD" clId="Web-{1AB381AE-1826-E7B9-4D9F-B26543741DFD}" dt="2026-02-24T14:00:13.117" v="770"/>
          <ac:spMkLst>
            <pc:docMk/>
            <pc:sldMk cId="2605769013" sldId="538"/>
            <ac:spMk id="8" creationId="{C0873AF7-17BA-65EB-357B-517CA608B12D}"/>
          </ac:spMkLst>
        </pc:spChg>
        <pc:picChg chg="mod">
          <ac:chgData name="Steffen Reestorff Frandsen (SBF)" userId="S::sbf_niras.dk#ext#@wsponline.onmicrosoft.com::65d26b19-0cc6-4ee9-b885-c9d3beef0ca3" providerId="AD" clId="Web-{1AB381AE-1826-E7B9-4D9F-B26543741DFD}" dt="2026-02-24T13:53:01.765" v="636" actId="1076"/>
          <ac:picMkLst>
            <pc:docMk/>
            <pc:sldMk cId="2605769013" sldId="538"/>
            <ac:picMk id="9" creationId="{652984DB-31B3-ABD0-3625-CBB65E0CE454}"/>
          </ac:picMkLst>
        </pc:picChg>
        <pc:picChg chg="mod">
          <ac:chgData name="Steffen Reestorff Frandsen (SBF)" userId="S::sbf_niras.dk#ext#@wsponline.onmicrosoft.com::65d26b19-0cc6-4ee9-b885-c9d3beef0ca3" providerId="AD" clId="Web-{1AB381AE-1826-E7B9-4D9F-B26543741DFD}" dt="2026-02-24T13:53:01.672" v="635" actId="1076"/>
          <ac:picMkLst>
            <pc:docMk/>
            <pc:sldMk cId="2605769013" sldId="538"/>
            <ac:picMk id="11" creationId="{28E7C30C-4683-B591-88CD-40176C131E93}"/>
          </ac:picMkLst>
        </pc:picChg>
      </pc:sldChg>
      <pc:sldChg chg="addSp delSp modSp add replId">
        <pc:chgData name="Steffen Reestorff Frandsen (SBF)" userId="S::sbf_niras.dk#ext#@wsponline.onmicrosoft.com::65d26b19-0cc6-4ee9-b885-c9d3beef0ca3" providerId="AD" clId="Web-{1AB381AE-1826-E7B9-4D9F-B26543741DFD}" dt="2026-02-24T14:33:21.192" v="1062" actId="20577"/>
        <pc:sldMkLst>
          <pc:docMk/>
          <pc:sldMk cId="2470245096" sldId="539"/>
        </pc:sldMkLst>
        <pc:spChg chg="mod">
          <ac:chgData name="Steffen Reestorff Frandsen (SBF)" userId="S::sbf_niras.dk#ext#@wsponline.onmicrosoft.com::65d26b19-0cc6-4ee9-b885-c9d3beef0ca3" providerId="AD" clId="Web-{1AB381AE-1826-E7B9-4D9F-B26543741DFD}" dt="2026-02-24T13:57:33.084" v="717" actId="20577"/>
          <ac:spMkLst>
            <pc:docMk/>
            <pc:sldMk cId="2470245096" sldId="539"/>
            <ac:spMk id="2" creationId="{B3C44902-1B03-388A-5106-51099CDFCAD0}"/>
          </ac:spMkLst>
        </pc:spChg>
        <pc:spChg chg="del">
          <ac:chgData name="Steffen Reestorff Frandsen (SBF)" userId="S::sbf_niras.dk#ext#@wsponline.onmicrosoft.com::65d26b19-0cc6-4ee9-b885-c9d3beef0ca3" providerId="AD" clId="Web-{1AB381AE-1826-E7B9-4D9F-B26543741DFD}" dt="2026-02-24T13:57:36.444" v="718"/>
          <ac:spMkLst>
            <pc:docMk/>
            <pc:sldMk cId="2470245096" sldId="539"/>
            <ac:spMk id="3" creationId="{9C633239-D269-EFBC-E818-4A42474CEBAA}"/>
          </ac:spMkLst>
        </pc:spChg>
        <pc:spChg chg="add del mod">
          <ac:chgData name="Steffen Reestorff Frandsen (SBF)" userId="S::sbf_niras.dk#ext#@wsponline.onmicrosoft.com::65d26b19-0cc6-4ee9-b885-c9d3beef0ca3" providerId="AD" clId="Web-{1AB381AE-1826-E7B9-4D9F-B26543741DFD}" dt="2026-02-24T14:33:21.192" v="1062" actId="20577"/>
          <ac:spMkLst>
            <pc:docMk/>
            <pc:sldMk cId="2470245096" sldId="539"/>
            <ac:spMk id="5" creationId="{ECEE66A5-3C60-9755-D1B0-4D4CDC72D43E}"/>
          </ac:spMkLst>
        </pc:spChg>
        <pc:spChg chg="add del mod">
          <ac:chgData name="Steffen Reestorff Frandsen (SBF)" userId="S::sbf_niras.dk#ext#@wsponline.onmicrosoft.com::65d26b19-0cc6-4ee9-b885-c9d3beef0ca3" providerId="AD" clId="Web-{1AB381AE-1826-E7B9-4D9F-B26543741DFD}" dt="2026-02-24T13:57:38.991" v="719"/>
          <ac:spMkLst>
            <pc:docMk/>
            <pc:sldMk cId="2470245096" sldId="539"/>
            <ac:spMk id="8" creationId="{4713D9A7-AC48-E6ED-39C5-0E1448B4BE35}"/>
          </ac:spMkLst>
        </pc:spChg>
        <pc:spChg chg="add del">
          <ac:chgData name="Steffen Reestorff Frandsen (SBF)" userId="S::sbf_niras.dk#ext#@wsponline.onmicrosoft.com::65d26b19-0cc6-4ee9-b885-c9d3beef0ca3" providerId="AD" clId="Web-{1AB381AE-1826-E7B9-4D9F-B26543741DFD}" dt="2026-02-24T14:02:00.118" v="816"/>
          <ac:spMkLst>
            <pc:docMk/>
            <pc:sldMk cId="2470245096" sldId="539"/>
            <ac:spMk id="11" creationId="{D7B37FC7-8D96-0DF8-E564-AE7E91F7C8B8}"/>
          </ac:spMkLst>
        </pc:spChg>
        <pc:spChg chg="add del mod">
          <ac:chgData name="Steffen Reestorff Frandsen (SBF)" userId="S::sbf_niras.dk#ext#@wsponline.onmicrosoft.com::65d26b19-0cc6-4ee9-b885-c9d3beef0ca3" providerId="AD" clId="Web-{1AB381AE-1826-E7B9-4D9F-B26543741DFD}" dt="2026-02-24T14:01:59.681" v="815"/>
          <ac:spMkLst>
            <pc:docMk/>
            <pc:sldMk cId="2470245096" sldId="539"/>
            <ac:spMk id="14" creationId="{066B200E-2B99-01CF-2E1A-59E84237ADE3}"/>
          </ac:spMkLst>
        </pc:spChg>
        <pc:picChg chg="add mod modCrop">
          <ac:chgData name="Steffen Reestorff Frandsen (SBF)" userId="S::sbf_niras.dk#ext#@wsponline.onmicrosoft.com::65d26b19-0cc6-4ee9-b885-c9d3beef0ca3" providerId="AD" clId="Web-{1AB381AE-1826-E7B9-4D9F-B26543741DFD}" dt="2026-02-24T14:25:19.671" v="992" actId="1076"/>
          <ac:picMkLst>
            <pc:docMk/>
            <pc:sldMk cId="2470245096" sldId="539"/>
            <ac:picMk id="9" creationId="{4B951C34-1133-70EE-32FF-84E27F3B754E}"/>
          </ac:picMkLst>
        </pc:picChg>
        <pc:picChg chg="mod modCrop">
          <ac:chgData name="Steffen Reestorff Frandsen (SBF)" userId="S::sbf_niras.dk#ext#@wsponline.onmicrosoft.com::65d26b19-0cc6-4ee9-b885-c9d3beef0ca3" providerId="AD" clId="Web-{1AB381AE-1826-E7B9-4D9F-B26543741DFD}" dt="2026-02-24T13:58:44.319" v="728"/>
          <ac:picMkLst>
            <pc:docMk/>
            <pc:sldMk cId="2470245096" sldId="539"/>
            <ac:picMk id="13" creationId="{8F2D59C1-F210-846B-86E4-0E73486F77C2}"/>
          </ac:picMkLst>
        </pc:picChg>
        <pc:picChg chg="mod">
          <ac:chgData name="Steffen Reestorff Frandsen (SBF)" userId="S::sbf_niras.dk#ext#@wsponline.onmicrosoft.com::65d26b19-0cc6-4ee9-b885-c9d3beef0ca3" providerId="AD" clId="Web-{1AB381AE-1826-E7B9-4D9F-B26543741DFD}" dt="2026-02-24T13:58:17.975" v="722" actId="1076"/>
          <ac:picMkLst>
            <pc:docMk/>
            <pc:sldMk cId="2470245096" sldId="539"/>
            <ac:picMk id="1026" creationId="{B8E28D77-891F-EEFE-2297-85F2C5CBFC6B}"/>
          </ac:picMkLst>
        </pc:picChg>
      </pc:sldChg>
    </pc:docChg>
  </pc:docChgLst>
  <pc:docChgLst>
    <pc:chgData name="Steffen Reestorff Frandsen (SBF)" userId="S::sbf_niras.dk#ext#@wsponline.onmicrosoft.com::65d26b19-0cc6-4ee9-b885-c9d3beef0ca3" providerId="AD" clId="Web-{A1AAB6CF-66BF-A782-9836-DF9FD94A08CC}"/>
    <pc:docChg chg="addSld delSld modSld sldOrd">
      <pc:chgData name="Steffen Reestorff Frandsen (SBF)" userId="S::sbf_niras.dk#ext#@wsponline.onmicrosoft.com::65d26b19-0cc6-4ee9-b885-c9d3beef0ca3" providerId="AD" clId="Web-{A1AAB6CF-66BF-A782-9836-DF9FD94A08CC}" dt="2026-02-23T14:33:58.650" v="556" actId="20577"/>
      <pc:docMkLst>
        <pc:docMk/>
      </pc:docMkLst>
      <pc:sldChg chg="modSp">
        <pc:chgData name="Steffen Reestorff Frandsen (SBF)" userId="S::sbf_niras.dk#ext#@wsponline.onmicrosoft.com::65d26b19-0cc6-4ee9-b885-c9d3beef0ca3" providerId="AD" clId="Web-{A1AAB6CF-66BF-A782-9836-DF9FD94A08CC}" dt="2026-02-23T13:41:05.642" v="0" actId="1076"/>
        <pc:sldMkLst>
          <pc:docMk/>
          <pc:sldMk cId="1758669943" sldId="294"/>
        </pc:sldMkLst>
      </pc:sldChg>
      <pc:sldChg chg="modSp">
        <pc:chgData name="Steffen Reestorff Frandsen (SBF)" userId="S::sbf_niras.dk#ext#@wsponline.onmicrosoft.com::65d26b19-0cc6-4ee9-b885-c9d3beef0ca3" providerId="AD" clId="Web-{A1AAB6CF-66BF-A782-9836-DF9FD94A08CC}" dt="2026-02-23T13:41:26.423" v="6" actId="20577"/>
        <pc:sldMkLst>
          <pc:docMk/>
          <pc:sldMk cId="3272657244" sldId="314"/>
        </pc:sldMkLst>
        <pc:spChg chg="mod">
          <ac:chgData name="Steffen Reestorff Frandsen (SBF)" userId="S::sbf_niras.dk#ext#@wsponline.onmicrosoft.com::65d26b19-0cc6-4ee9-b885-c9d3beef0ca3" providerId="AD" clId="Web-{A1AAB6CF-66BF-A782-9836-DF9FD94A08CC}" dt="2026-02-23T13:41:26.423" v="6" actId="20577"/>
          <ac:spMkLst>
            <pc:docMk/>
            <pc:sldMk cId="3272657244" sldId="314"/>
            <ac:spMk id="24" creationId="{CFB62508-1D76-8772-CD4C-4E8D68E380B2}"/>
          </ac:spMkLst>
        </pc:spChg>
      </pc:sldChg>
      <pc:sldChg chg="addSp delSp modSp">
        <pc:chgData name="Steffen Reestorff Frandsen (SBF)" userId="S::sbf_niras.dk#ext#@wsponline.onmicrosoft.com::65d26b19-0cc6-4ee9-b885-c9d3beef0ca3" providerId="AD" clId="Web-{A1AAB6CF-66BF-A782-9836-DF9FD94A08CC}" dt="2026-02-23T14:32:59.243" v="540" actId="20577"/>
        <pc:sldMkLst>
          <pc:docMk/>
          <pc:sldMk cId="1913139638" sldId="521"/>
        </pc:sldMkLst>
        <pc:spChg chg="mod">
          <ac:chgData name="Steffen Reestorff Frandsen (SBF)" userId="S::sbf_niras.dk#ext#@wsponline.onmicrosoft.com::65d26b19-0cc6-4ee9-b885-c9d3beef0ca3" providerId="AD" clId="Web-{A1AAB6CF-66BF-A782-9836-DF9FD94A08CC}" dt="2026-02-23T13:41:41.924" v="10" actId="20577"/>
          <ac:spMkLst>
            <pc:docMk/>
            <pc:sldMk cId="1913139638" sldId="521"/>
            <ac:spMk id="2" creationId="{E5144D38-7B4F-64AC-C1FF-B20294DF40D3}"/>
          </ac:spMkLst>
        </pc:spChg>
        <pc:spChg chg="mod">
          <ac:chgData name="Steffen Reestorff Frandsen (SBF)" userId="S::sbf_niras.dk#ext#@wsponline.onmicrosoft.com::65d26b19-0cc6-4ee9-b885-c9d3beef0ca3" providerId="AD" clId="Web-{A1AAB6CF-66BF-A782-9836-DF9FD94A08CC}" dt="2026-02-23T14:32:59.243" v="540" actId="20577"/>
          <ac:spMkLst>
            <pc:docMk/>
            <pc:sldMk cId="1913139638" sldId="521"/>
            <ac:spMk id="5" creationId="{3B92BC1F-F0CA-B27E-249F-5D02DD11DA6F}"/>
          </ac:spMkLst>
        </pc:spChg>
        <pc:picChg chg="add mod ord">
          <ac:chgData name="Steffen Reestorff Frandsen (SBF)" userId="S::sbf_niras.dk#ext#@wsponline.onmicrosoft.com::65d26b19-0cc6-4ee9-b885-c9d3beef0ca3" providerId="AD" clId="Web-{A1AAB6CF-66BF-A782-9836-DF9FD94A08CC}" dt="2026-02-23T14:31:28.305" v="509" actId="14100"/>
          <ac:picMkLst>
            <pc:docMk/>
            <pc:sldMk cId="1913139638" sldId="521"/>
            <ac:picMk id="7" creationId="{420466F3-FDEF-0C54-9E71-32502C1E37DC}"/>
          </ac:picMkLst>
        </pc:picChg>
      </pc:sldChg>
      <pc:sldChg chg="modSp add replId">
        <pc:chgData name="Steffen Reestorff Frandsen (SBF)" userId="S::sbf_niras.dk#ext#@wsponline.onmicrosoft.com::65d26b19-0cc6-4ee9-b885-c9d3beef0ca3" providerId="AD" clId="Web-{A1AAB6CF-66BF-A782-9836-DF9FD94A08CC}" dt="2026-02-23T14:33:58.650" v="556" actId="20577"/>
        <pc:sldMkLst>
          <pc:docMk/>
          <pc:sldMk cId="2942881923" sldId="533"/>
        </pc:sldMkLst>
        <pc:spChg chg="mod">
          <ac:chgData name="Steffen Reestorff Frandsen (SBF)" userId="S::sbf_niras.dk#ext#@wsponline.onmicrosoft.com::65d26b19-0cc6-4ee9-b885-c9d3beef0ca3" providerId="AD" clId="Web-{A1AAB6CF-66BF-A782-9836-DF9FD94A08CC}" dt="2026-02-23T14:33:58.650" v="556" actId="20577"/>
          <ac:spMkLst>
            <pc:docMk/>
            <pc:sldMk cId="2942881923" sldId="533"/>
            <ac:spMk id="5" creationId="{BA168EB9-11E3-2A16-5C21-899C3DCB0E39}"/>
          </ac:spMkLst>
        </pc:spChg>
        <pc:picChg chg="mod">
          <ac:chgData name="Steffen Reestorff Frandsen (SBF)" userId="S::sbf_niras.dk#ext#@wsponline.onmicrosoft.com::65d26b19-0cc6-4ee9-b885-c9d3beef0ca3" providerId="AD" clId="Web-{A1AAB6CF-66BF-A782-9836-DF9FD94A08CC}" dt="2026-02-23T14:26:00.927" v="451" actId="1076"/>
          <ac:picMkLst>
            <pc:docMk/>
            <pc:sldMk cId="2942881923" sldId="533"/>
            <ac:picMk id="8" creationId="{E6AF6DD7-B7E6-15C6-3B9F-19A6BA05B048}"/>
          </ac:picMkLst>
        </pc:picChg>
        <pc:picChg chg="mod">
          <ac:chgData name="Steffen Reestorff Frandsen (SBF)" userId="S::sbf_niras.dk#ext#@wsponline.onmicrosoft.com::65d26b19-0cc6-4ee9-b885-c9d3beef0ca3" providerId="AD" clId="Web-{A1AAB6CF-66BF-A782-9836-DF9FD94A08CC}" dt="2026-02-23T14:26:00.974" v="452" actId="1076"/>
          <ac:picMkLst>
            <pc:docMk/>
            <pc:sldMk cId="2942881923" sldId="533"/>
            <ac:picMk id="10" creationId="{124B2A69-7E50-2050-2DFA-65444613B573}"/>
          </ac:picMkLst>
        </pc:picChg>
      </pc:sldChg>
      <pc:sldChg chg="add replId">
        <pc:chgData name="Steffen Reestorff Frandsen (SBF)" userId="S::sbf_niras.dk#ext#@wsponline.onmicrosoft.com::65d26b19-0cc6-4ee9-b885-c9d3beef0ca3" providerId="AD" clId="Web-{A1AAB6CF-66BF-A782-9836-DF9FD94A08CC}" dt="2026-02-23T14:25:08.457" v="443"/>
        <pc:sldMkLst>
          <pc:docMk/>
          <pc:sldMk cId="1602505085" sldId="534"/>
        </pc:sldMkLst>
      </pc:sldChg>
    </pc:docChg>
  </pc:docChgLst>
  <pc:docChgLst>
    <pc:chgData name="Steffen Reestorff Frandsen (SBF)" userId="S::sbf_niras.dk#ext#@wsponline.onmicrosoft.com::65d26b19-0cc6-4ee9-b885-c9d3beef0ca3" providerId="AD" clId="Web-{1E521957-D636-CF65-8BF2-2366129249C2}"/>
    <pc:docChg chg="delSld modSld">
      <pc:chgData name="Steffen Reestorff Frandsen (SBF)" userId="S::sbf_niras.dk#ext#@wsponline.onmicrosoft.com::65d26b19-0cc6-4ee9-b885-c9d3beef0ca3" providerId="AD" clId="Web-{1E521957-D636-CF65-8BF2-2366129249C2}" dt="2026-02-25T15:44:10.073" v="18" actId="20577"/>
      <pc:docMkLst>
        <pc:docMk/>
      </pc:docMkLst>
      <pc:sldChg chg="modSp">
        <pc:chgData name="Steffen Reestorff Frandsen (SBF)" userId="S::sbf_niras.dk#ext#@wsponline.onmicrosoft.com::65d26b19-0cc6-4ee9-b885-c9d3beef0ca3" providerId="AD" clId="Web-{1E521957-D636-CF65-8BF2-2366129249C2}" dt="2026-02-25T15:43:15.964" v="12" actId="20577"/>
        <pc:sldMkLst>
          <pc:docMk/>
          <pc:sldMk cId="1913139638" sldId="521"/>
        </pc:sldMkLst>
        <pc:spChg chg="mod">
          <ac:chgData name="Steffen Reestorff Frandsen (SBF)" userId="S::sbf_niras.dk#ext#@wsponline.onmicrosoft.com::65d26b19-0cc6-4ee9-b885-c9d3beef0ca3" providerId="AD" clId="Web-{1E521957-D636-CF65-8BF2-2366129249C2}" dt="2026-02-25T15:43:15.964" v="12" actId="20577"/>
          <ac:spMkLst>
            <pc:docMk/>
            <pc:sldMk cId="1913139638" sldId="521"/>
            <ac:spMk id="5" creationId="{3B92BC1F-F0CA-B27E-249F-5D02DD11DA6F}"/>
          </ac:spMkLst>
        </pc:spChg>
      </pc:sldChg>
      <pc:sldChg chg="del">
        <pc:chgData name="Steffen Reestorff Frandsen (SBF)" userId="S::sbf_niras.dk#ext#@wsponline.onmicrosoft.com::65d26b19-0cc6-4ee9-b885-c9d3beef0ca3" providerId="AD" clId="Web-{1E521957-D636-CF65-8BF2-2366129249C2}" dt="2026-02-25T15:41:29.418" v="0"/>
        <pc:sldMkLst>
          <pc:docMk/>
          <pc:sldMk cId="2878103130" sldId="522"/>
        </pc:sldMkLst>
      </pc:sldChg>
      <pc:sldChg chg="modSp">
        <pc:chgData name="Steffen Reestorff Frandsen (SBF)" userId="S::sbf_niras.dk#ext#@wsponline.onmicrosoft.com::65d26b19-0cc6-4ee9-b885-c9d3beef0ca3" providerId="AD" clId="Web-{1E521957-D636-CF65-8BF2-2366129249C2}" dt="2026-02-25T15:42:57.652" v="6" actId="1076"/>
        <pc:sldMkLst>
          <pc:docMk/>
          <pc:sldMk cId="4173596443" sldId="526"/>
        </pc:sldMkLst>
        <pc:spChg chg="mod">
          <ac:chgData name="Steffen Reestorff Frandsen (SBF)" userId="S::sbf_niras.dk#ext#@wsponline.onmicrosoft.com::65d26b19-0cc6-4ee9-b885-c9d3beef0ca3" providerId="AD" clId="Web-{1E521957-D636-CF65-8BF2-2366129249C2}" dt="2026-02-25T15:42:54.621" v="5" actId="20577"/>
          <ac:spMkLst>
            <pc:docMk/>
            <pc:sldMk cId="4173596443" sldId="526"/>
            <ac:spMk id="5" creationId="{C405273C-89B7-706B-8CDC-F1B14CA4DDF0}"/>
          </ac:spMkLst>
        </pc:spChg>
        <pc:picChg chg="mod">
          <ac:chgData name="Steffen Reestorff Frandsen (SBF)" userId="S::sbf_niras.dk#ext#@wsponline.onmicrosoft.com::65d26b19-0cc6-4ee9-b885-c9d3beef0ca3" providerId="AD" clId="Web-{1E521957-D636-CF65-8BF2-2366129249C2}" dt="2026-02-25T15:42:57.652" v="6" actId="1076"/>
          <ac:picMkLst>
            <pc:docMk/>
            <pc:sldMk cId="4173596443" sldId="526"/>
            <ac:picMk id="8" creationId="{9D52D124-F292-9C86-A078-9696448996BB}"/>
          </ac:picMkLst>
        </pc:picChg>
      </pc:sldChg>
      <pc:sldChg chg="modSp">
        <pc:chgData name="Steffen Reestorff Frandsen (SBF)" userId="S::sbf_niras.dk#ext#@wsponline.onmicrosoft.com::65d26b19-0cc6-4ee9-b885-c9d3beef0ca3" providerId="AD" clId="Web-{1E521957-D636-CF65-8BF2-2366129249C2}" dt="2026-02-25T15:43:57.058" v="14" actId="20577"/>
        <pc:sldMkLst>
          <pc:docMk/>
          <pc:sldMk cId="2470245096" sldId="539"/>
        </pc:sldMkLst>
        <pc:spChg chg="mod">
          <ac:chgData name="Steffen Reestorff Frandsen (SBF)" userId="S::sbf_niras.dk#ext#@wsponline.onmicrosoft.com::65d26b19-0cc6-4ee9-b885-c9d3beef0ca3" providerId="AD" clId="Web-{1E521957-D636-CF65-8BF2-2366129249C2}" dt="2026-02-25T15:43:57.058" v="14" actId="20577"/>
          <ac:spMkLst>
            <pc:docMk/>
            <pc:sldMk cId="2470245096" sldId="539"/>
            <ac:spMk id="5" creationId="{ECEE66A5-3C60-9755-D1B0-4D4CDC72D43E}"/>
          </ac:spMkLst>
        </pc:spChg>
      </pc:sldChg>
      <pc:sldChg chg="modSp">
        <pc:chgData name="Steffen Reestorff Frandsen (SBF)" userId="S::sbf_niras.dk#ext#@wsponline.onmicrosoft.com::65d26b19-0cc6-4ee9-b885-c9d3beef0ca3" providerId="AD" clId="Web-{1E521957-D636-CF65-8BF2-2366129249C2}" dt="2026-02-25T15:44:10.073" v="18" actId="20577"/>
        <pc:sldMkLst>
          <pc:docMk/>
          <pc:sldMk cId="377261780" sldId="542"/>
        </pc:sldMkLst>
        <pc:spChg chg="mod">
          <ac:chgData name="Steffen Reestorff Frandsen (SBF)" userId="S::sbf_niras.dk#ext#@wsponline.onmicrosoft.com::65d26b19-0cc6-4ee9-b885-c9d3beef0ca3" providerId="AD" clId="Web-{1E521957-D636-CF65-8BF2-2366129249C2}" dt="2026-02-25T15:44:10.073" v="18" actId="20577"/>
          <ac:spMkLst>
            <pc:docMk/>
            <pc:sldMk cId="377261780" sldId="542"/>
            <ac:spMk id="5" creationId="{3D1C9285-D182-7DA0-24D3-31BA460D4897}"/>
          </ac:spMkLst>
        </pc:spChg>
      </pc:sldChg>
    </pc:docChg>
  </pc:docChgLst>
  <pc:docChgLst>
    <pc:chgData name="Thomsen, Anja Thrane Hejselbæk" userId="S::anja.thomsen@wsp.com::421def61-de89-470a-af4b-6891fcfede3a" providerId="AD" clId="Web-{9A0B14E6-718A-298F-B967-191CC6436ADE}"/>
    <pc:docChg chg="addSld delSld modSld">
      <pc:chgData name="Thomsen, Anja Thrane Hejselbæk" userId="S::anja.thomsen@wsp.com::421def61-de89-470a-af4b-6891fcfede3a" providerId="AD" clId="Web-{9A0B14E6-718A-298F-B967-191CC6436ADE}" dt="2026-02-23T22:08:57.897" v="192" actId="20577"/>
      <pc:docMkLst>
        <pc:docMk/>
      </pc:docMkLst>
      <pc:sldChg chg="modSp">
        <pc:chgData name="Thomsen, Anja Thrane Hejselbæk" userId="S::anja.thomsen@wsp.com::421def61-de89-470a-af4b-6891fcfede3a" providerId="AD" clId="Web-{9A0B14E6-718A-298F-B967-191CC6436ADE}" dt="2026-02-23T21:38:40.344" v="123" actId="20577"/>
        <pc:sldMkLst>
          <pc:docMk/>
          <pc:sldMk cId="3272657244" sldId="314"/>
        </pc:sldMkLst>
        <pc:spChg chg="mod">
          <ac:chgData name="Thomsen, Anja Thrane Hejselbæk" userId="S::anja.thomsen@wsp.com::421def61-de89-470a-af4b-6891fcfede3a" providerId="AD" clId="Web-{9A0B14E6-718A-298F-B967-191CC6436ADE}" dt="2026-02-23T21:38:40.344" v="123" actId="20577"/>
          <ac:spMkLst>
            <pc:docMk/>
            <pc:sldMk cId="3272657244" sldId="314"/>
            <ac:spMk id="24" creationId="{CFB62508-1D76-8772-CD4C-4E8D68E380B2}"/>
          </ac:spMkLst>
        </pc:spChg>
      </pc:sldChg>
      <pc:sldChg chg="modSp">
        <pc:chgData name="Thomsen, Anja Thrane Hejselbæk" userId="S::anja.thomsen@wsp.com::421def61-de89-470a-af4b-6891fcfede3a" providerId="AD" clId="Web-{9A0B14E6-718A-298F-B967-191CC6436ADE}" dt="2026-02-23T22:08:57.897" v="192" actId="20577"/>
        <pc:sldMkLst>
          <pc:docMk/>
          <pc:sldMk cId="4218646901" sldId="319"/>
        </pc:sldMkLst>
        <pc:spChg chg="mod">
          <ac:chgData name="Thomsen, Anja Thrane Hejselbæk" userId="S::anja.thomsen@wsp.com::421def61-de89-470a-af4b-6891fcfede3a" providerId="AD" clId="Web-{9A0B14E6-718A-298F-B967-191CC6436ADE}" dt="2026-02-23T22:08:57.897" v="192" actId="20577"/>
          <ac:spMkLst>
            <pc:docMk/>
            <pc:sldMk cId="4218646901" sldId="319"/>
            <ac:spMk id="3" creationId="{E7C9BD12-B97D-07E9-0363-5E19C4356DC8}"/>
          </ac:spMkLst>
        </pc:spChg>
      </pc:sldChg>
      <pc:sldChg chg="delSp modSp new">
        <pc:chgData name="Thomsen, Anja Thrane Hejselbæk" userId="S::anja.thomsen@wsp.com::421def61-de89-470a-af4b-6891fcfede3a" providerId="AD" clId="Web-{9A0B14E6-718A-298F-B967-191CC6436ADE}" dt="2026-02-23T21:53:39.774" v="128" actId="20577"/>
        <pc:sldMkLst>
          <pc:docMk/>
          <pc:sldMk cId="558249199" sldId="535"/>
        </pc:sldMkLst>
        <pc:spChg chg="mod">
          <ac:chgData name="Thomsen, Anja Thrane Hejselbæk" userId="S::anja.thomsen@wsp.com::421def61-de89-470a-af4b-6891fcfede3a" providerId="AD" clId="Web-{9A0B14E6-718A-298F-B967-191CC6436ADE}" dt="2026-02-23T21:53:39.774" v="128" actId="20577"/>
          <ac:spMkLst>
            <pc:docMk/>
            <pc:sldMk cId="558249199" sldId="535"/>
            <ac:spMk id="5" creationId="{4A8A74FB-D59E-2779-EFDD-4CF9A94960C1}"/>
          </ac:spMkLst>
        </pc:spChg>
      </pc:sldChg>
      <pc:sldChg chg="addSp delSp modSp new">
        <pc:chgData name="Thomsen, Anja Thrane Hejselbæk" userId="S::anja.thomsen@wsp.com::421def61-de89-470a-af4b-6891fcfede3a" providerId="AD" clId="Web-{9A0B14E6-718A-298F-B967-191CC6436ADE}" dt="2026-02-23T21:16:06.066" v="119" actId="20577"/>
        <pc:sldMkLst>
          <pc:docMk/>
          <pc:sldMk cId="2770400711" sldId="536"/>
        </pc:sldMkLst>
        <pc:spChg chg="add mod">
          <ac:chgData name="Thomsen, Anja Thrane Hejselbæk" userId="S::anja.thomsen@wsp.com::421def61-de89-470a-af4b-6891fcfede3a" providerId="AD" clId="Web-{9A0B14E6-718A-298F-B967-191CC6436ADE}" dt="2026-02-23T21:16:06.066" v="119" actId="20577"/>
          <ac:spMkLst>
            <pc:docMk/>
            <pc:sldMk cId="2770400711" sldId="536"/>
            <ac:spMk id="13" creationId="{3678DC91-173A-1C9C-E1AA-0871079FEE50}"/>
          </ac:spMkLst>
        </pc:spChg>
        <pc:graphicFrameChg chg="add mod modGraphic">
          <ac:chgData name="Thomsen, Anja Thrane Hejselbæk" userId="S::anja.thomsen@wsp.com::421def61-de89-470a-af4b-6891fcfede3a" providerId="AD" clId="Web-{9A0B14E6-718A-298F-B967-191CC6436ADE}" dt="2026-02-23T21:14:07.502" v="100"/>
          <ac:graphicFrameMkLst>
            <pc:docMk/>
            <pc:sldMk cId="2770400711" sldId="536"/>
            <ac:graphicFrameMk id="10" creationId="{B80BB5E6-4A3A-407F-5390-3F6AFFF7A71D}"/>
          </ac:graphicFrameMkLst>
        </pc:graphicFrameChg>
      </pc:sldChg>
    </pc:docChg>
  </pc:docChgLst>
  <pc:docChgLst>
    <pc:chgData name="Steffen Reestorff Frandsen (SBF)" userId="S::sbf_niras.dk#ext#@wsponline.onmicrosoft.com::65d26b19-0cc6-4ee9-b885-c9d3beef0ca3" providerId="AD" clId="Web-{0B0CC7E1-65D7-F7C7-F635-9F95677B12A8}"/>
    <pc:docChg chg="modSld">
      <pc:chgData name="Steffen Reestorff Frandsen (SBF)" userId="S::sbf_niras.dk#ext#@wsponline.onmicrosoft.com::65d26b19-0cc6-4ee9-b885-c9d3beef0ca3" providerId="AD" clId="Web-{0B0CC7E1-65D7-F7C7-F635-9F95677B12A8}" dt="2026-02-25T15:46:33.403" v="10" actId="20577"/>
      <pc:docMkLst>
        <pc:docMk/>
      </pc:docMkLst>
      <pc:sldChg chg="modSp">
        <pc:chgData name="Steffen Reestorff Frandsen (SBF)" userId="S::sbf_niras.dk#ext#@wsponline.onmicrosoft.com::65d26b19-0cc6-4ee9-b885-c9d3beef0ca3" providerId="AD" clId="Web-{0B0CC7E1-65D7-F7C7-F635-9F95677B12A8}" dt="2026-02-25T15:45:59.216" v="7" actId="20577"/>
        <pc:sldMkLst>
          <pc:docMk/>
          <pc:sldMk cId="3860184013" sldId="541"/>
        </pc:sldMkLst>
        <pc:spChg chg="mod">
          <ac:chgData name="Steffen Reestorff Frandsen (SBF)" userId="S::sbf_niras.dk#ext#@wsponline.onmicrosoft.com::65d26b19-0cc6-4ee9-b885-c9d3beef0ca3" providerId="AD" clId="Web-{0B0CC7E1-65D7-F7C7-F635-9F95677B12A8}" dt="2026-02-25T15:45:59.216" v="7" actId="20577"/>
          <ac:spMkLst>
            <pc:docMk/>
            <pc:sldMk cId="3860184013" sldId="541"/>
            <ac:spMk id="6" creationId="{87D6B51E-A987-7DE1-61DD-20D2673B1B34}"/>
          </ac:spMkLst>
        </pc:spChg>
      </pc:sldChg>
      <pc:sldChg chg="modSp">
        <pc:chgData name="Steffen Reestorff Frandsen (SBF)" userId="S::sbf_niras.dk#ext#@wsponline.onmicrosoft.com::65d26b19-0cc6-4ee9-b885-c9d3beef0ca3" providerId="AD" clId="Web-{0B0CC7E1-65D7-F7C7-F635-9F95677B12A8}" dt="2026-02-25T15:46:33.403" v="10" actId="20577"/>
        <pc:sldMkLst>
          <pc:docMk/>
          <pc:sldMk cId="1785060485" sldId="544"/>
        </pc:sldMkLst>
        <pc:spChg chg="mod">
          <ac:chgData name="Steffen Reestorff Frandsen (SBF)" userId="S::sbf_niras.dk#ext#@wsponline.onmicrosoft.com::65d26b19-0cc6-4ee9-b885-c9d3beef0ca3" providerId="AD" clId="Web-{0B0CC7E1-65D7-F7C7-F635-9F95677B12A8}" dt="2026-02-25T15:46:33.403" v="10" actId="20577"/>
          <ac:spMkLst>
            <pc:docMk/>
            <pc:sldMk cId="1785060485" sldId="544"/>
            <ac:spMk id="5" creationId="{2CBF1C1C-D689-5912-4DEA-04996DCFF512}"/>
          </ac:spMkLst>
        </pc:spChg>
      </pc:sldChg>
    </pc:docChg>
  </pc:docChgLst>
  <pc:docChgLst>
    <pc:chgData name="Thomsen, Anja Thrane Hejselbæk" userId="S::anja.thomsen@wsp.com::421def61-de89-470a-af4b-6891fcfede3a" providerId="AD" clId="Web-{4E2D6232-67DD-DF60-8AE1-264DE5DC2963}"/>
    <pc:docChg chg="addSld modSld">
      <pc:chgData name="Thomsen, Anja Thrane Hejselbæk" userId="S::anja.thomsen@wsp.com::421def61-de89-470a-af4b-6891fcfede3a" providerId="AD" clId="Web-{4E2D6232-67DD-DF60-8AE1-264DE5DC2963}" dt="2026-02-24T21:47:09.036" v="202" actId="14100"/>
      <pc:docMkLst>
        <pc:docMk/>
      </pc:docMkLst>
      <pc:sldChg chg="modSp">
        <pc:chgData name="Thomsen, Anja Thrane Hejselbæk" userId="S::anja.thomsen@wsp.com::421def61-de89-470a-af4b-6891fcfede3a" providerId="AD" clId="Web-{4E2D6232-67DD-DF60-8AE1-264DE5DC2963}" dt="2026-02-24T20:19:35.625" v="127" actId="20577"/>
        <pc:sldMkLst>
          <pc:docMk/>
          <pc:sldMk cId="796141995" sldId="259"/>
        </pc:sldMkLst>
        <pc:spChg chg="mod">
          <ac:chgData name="Thomsen, Anja Thrane Hejselbæk" userId="S::anja.thomsen@wsp.com::421def61-de89-470a-af4b-6891fcfede3a" providerId="AD" clId="Web-{4E2D6232-67DD-DF60-8AE1-264DE5DC2963}" dt="2026-02-24T20:19:35.625" v="127" actId="20577"/>
          <ac:spMkLst>
            <pc:docMk/>
            <pc:sldMk cId="796141995" sldId="259"/>
            <ac:spMk id="2" creationId="{94FF4DEE-F3DF-C512-1386-68D61CDE3FB0}"/>
          </ac:spMkLst>
        </pc:spChg>
        <pc:picChg chg="mod">
          <ac:chgData name="Thomsen, Anja Thrane Hejselbæk" userId="S::anja.thomsen@wsp.com::421def61-de89-470a-af4b-6891fcfede3a" providerId="AD" clId="Web-{4E2D6232-67DD-DF60-8AE1-264DE5DC2963}" dt="2026-02-24T20:19:05.218" v="108" actId="14100"/>
          <ac:picMkLst>
            <pc:docMk/>
            <pc:sldMk cId="796141995" sldId="259"/>
            <ac:picMk id="5" creationId="{22FE8D44-0591-303E-9884-C7900CD471B6}"/>
          </ac:picMkLst>
        </pc:picChg>
      </pc:sldChg>
      <pc:sldChg chg="addSp delSp modSp">
        <pc:chgData name="Thomsen, Anja Thrane Hejselbæk" userId="S::anja.thomsen@wsp.com::421def61-de89-470a-af4b-6891fcfede3a" providerId="AD" clId="Web-{4E2D6232-67DD-DF60-8AE1-264DE5DC2963}" dt="2026-02-24T21:38:18.651" v="181"/>
        <pc:sldMkLst>
          <pc:docMk/>
          <pc:sldMk cId="1758669943" sldId="294"/>
        </pc:sldMkLst>
        <pc:spChg chg="add del">
          <ac:chgData name="Thomsen, Anja Thrane Hejselbæk" userId="S::anja.thomsen@wsp.com::421def61-de89-470a-af4b-6891fcfede3a" providerId="AD" clId="Web-{4E2D6232-67DD-DF60-8AE1-264DE5DC2963}" dt="2026-02-24T20:37:00.912" v="132"/>
          <ac:spMkLst>
            <pc:docMk/>
            <pc:sldMk cId="1758669943" sldId="294"/>
            <ac:spMk id="3" creationId="{9EC7A04D-363F-139E-D07A-A618F5540C46}"/>
          </ac:spMkLst>
        </pc:spChg>
        <pc:spChg chg="add del mod">
          <ac:chgData name="Thomsen, Anja Thrane Hejselbæk" userId="S::anja.thomsen@wsp.com::421def61-de89-470a-af4b-6891fcfede3a" providerId="AD" clId="Web-{4E2D6232-67DD-DF60-8AE1-264DE5DC2963}" dt="2026-02-24T20:36:41.818" v="130"/>
          <ac:spMkLst>
            <pc:docMk/>
            <pc:sldMk cId="1758669943" sldId="294"/>
            <ac:spMk id="8" creationId="{926C4774-C8FA-9E52-C0F5-ED72255C93EA}"/>
          </ac:spMkLst>
        </pc:spChg>
        <pc:picChg chg="add del mod">
          <ac:chgData name="Thomsen, Anja Thrane Hejselbæk" userId="S::anja.thomsen@wsp.com::421def61-de89-470a-af4b-6891fcfede3a" providerId="AD" clId="Web-{4E2D6232-67DD-DF60-8AE1-264DE5DC2963}" dt="2026-02-24T21:38:18.651" v="181"/>
          <ac:picMkLst>
            <pc:docMk/>
            <pc:sldMk cId="1758669943" sldId="294"/>
            <ac:picMk id="3" creationId="{D2C9BA68-67F3-03EA-D812-1F4B480A34CA}"/>
          </ac:picMkLst>
        </pc:picChg>
        <pc:picChg chg="add del mod ord">
          <ac:chgData name="Thomsen, Anja Thrane Hejselbæk" userId="S::anja.thomsen@wsp.com::421def61-de89-470a-af4b-6891fcfede3a" providerId="AD" clId="Web-{4E2D6232-67DD-DF60-8AE1-264DE5DC2963}" dt="2026-02-24T20:36:44.928" v="131"/>
          <ac:picMkLst>
            <pc:docMk/>
            <pc:sldMk cId="1758669943" sldId="294"/>
            <ac:picMk id="5" creationId="{0BACEAB1-7C89-0E45-DD2A-D00B0117407B}"/>
          </ac:picMkLst>
        </pc:picChg>
        <pc:picChg chg="add mod ord">
          <ac:chgData name="Thomsen, Anja Thrane Hejselbæk" userId="S::anja.thomsen@wsp.com::421def61-de89-470a-af4b-6891fcfede3a" providerId="AD" clId="Web-{4E2D6232-67DD-DF60-8AE1-264DE5DC2963}" dt="2026-02-24T20:37:00.912" v="132"/>
          <ac:picMkLst>
            <pc:docMk/>
            <pc:sldMk cId="1758669943" sldId="294"/>
            <ac:picMk id="12" creationId="{0A1D3235-BCF9-5B30-AA0D-86DF1CC9D506}"/>
          </ac:picMkLst>
        </pc:picChg>
      </pc:sldChg>
      <pc:sldChg chg="addSp modSp">
        <pc:chgData name="Thomsen, Anja Thrane Hejselbæk" userId="S::anja.thomsen@wsp.com::421def61-de89-470a-af4b-6891fcfede3a" providerId="AD" clId="Web-{4E2D6232-67DD-DF60-8AE1-264DE5DC2963}" dt="2026-02-24T21:47:09.036" v="202" actId="14100"/>
        <pc:sldMkLst>
          <pc:docMk/>
          <pc:sldMk cId="3272657244" sldId="314"/>
        </pc:sldMkLst>
        <pc:spChg chg="mod">
          <ac:chgData name="Thomsen, Anja Thrane Hejselbæk" userId="S::anja.thomsen@wsp.com::421def61-de89-470a-af4b-6891fcfede3a" providerId="AD" clId="Web-{4E2D6232-67DD-DF60-8AE1-264DE5DC2963}" dt="2026-02-24T21:47:03.723" v="201" actId="20577"/>
          <ac:spMkLst>
            <pc:docMk/>
            <pc:sldMk cId="3272657244" sldId="314"/>
            <ac:spMk id="26" creationId="{FDBB4E53-E549-CF72-8776-90D51B58484B}"/>
          </ac:spMkLst>
        </pc:spChg>
        <pc:picChg chg="add mod">
          <ac:chgData name="Thomsen, Anja Thrane Hejselbæk" userId="S::anja.thomsen@wsp.com::421def61-de89-470a-af4b-6891fcfede3a" providerId="AD" clId="Web-{4E2D6232-67DD-DF60-8AE1-264DE5DC2963}" dt="2026-02-24T21:47:09.036" v="202" actId="14100"/>
          <ac:picMkLst>
            <pc:docMk/>
            <pc:sldMk cId="3272657244" sldId="314"/>
            <ac:picMk id="3" creationId="{D93E1338-7669-83E8-CDB0-6526325FF527}"/>
          </ac:picMkLst>
        </pc:picChg>
      </pc:sldChg>
      <pc:sldChg chg="modSp">
        <pc:chgData name="Thomsen, Anja Thrane Hejselbæk" userId="S::anja.thomsen@wsp.com::421def61-de89-470a-af4b-6891fcfede3a" providerId="AD" clId="Web-{4E2D6232-67DD-DF60-8AE1-264DE5DC2963}" dt="2026-02-24T20:18:03.327" v="100" actId="20577"/>
        <pc:sldMkLst>
          <pc:docMk/>
          <pc:sldMk cId="4218646901" sldId="319"/>
        </pc:sldMkLst>
        <pc:spChg chg="mod">
          <ac:chgData name="Thomsen, Anja Thrane Hejselbæk" userId="S::anja.thomsen@wsp.com::421def61-de89-470a-af4b-6891fcfede3a" providerId="AD" clId="Web-{4E2D6232-67DD-DF60-8AE1-264DE5DC2963}" dt="2026-02-24T20:18:03.327" v="100" actId="20577"/>
          <ac:spMkLst>
            <pc:docMk/>
            <pc:sldMk cId="4218646901" sldId="319"/>
            <ac:spMk id="3" creationId="{E7C9BD12-B97D-07E9-0363-5E19C4356DC8}"/>
          </ac:spMkLst>
        </pc:spChg>
      </pc:sldChg>
      <pc:sldChg chg="addSp delSp modSp">
        <pc:chgData name="Thomsen, Anja Thrane Hejselbæk" userId="S::anja.thomsen@wsp.com::421def61-de89-470a-af4b-6891fcfede3a" providerId="AD" clId="Web-{4E2D6232-67DD-DF60-8AE1-264DE5DC2963}" dt="2026-02-24T20:43:24.228" v="171" actId="1076"/>
        <pc:sldMkLst>
          <pc:docMk/>
          <pc:sldMk cId="558249199" sldId="535"/>
        </pc:sldMkLst>
        <pc:spChg chg="mod">
          <ac:chgData name="Thomsen, Anja Thrane Hejselbæk" userId="S::anja.thomsen@wsp.com::421def61-de89-470a-af4b-6891fcfede3a" providerId="AD" clId="Web-{4E2D6232-67DD-DF60-8AE1-264DE5DC2963}" dt="2026-02-24T20:43:24.228" v="171" actId="1076"/>
          <ac:spMkLst>
            <pc:docMk/>
            <pc:sldMk cId="558249199" sldId="535"/>
            <ac:spMk id="2" creationId="{54BBF5B8-7222-A02D-9636-4AF23424FD69}"/>
          </ac:spMkLst>
        </pc:spChg>
        <pc:spChg chg="del">
          <ac:chgData name="Thomsen, Anja Thrane Hejselbæk" userId="S::anja.thomsen@wsp.com::421def61-de89-470a-af4b-6891fcfede3a" providerId="AD" clId="Web-{4E2D6232-67DD-DF60-8AE1-264DE5DC2963}" dt="2026-02-24T20:40:40.996" v="158"/>
          <ac:spMkLst>
            <pc:docMk/>
            <pc:sldMk cId="558249199" sldId="535"/>
            <ac:spMk id="3" creationId="{2AE4C59A-BEFB-52F6-86B3-B7C8B1DD24E9}"/>
          </ac:spMkLst>
        </pc:spChg>
        <pc:spChg chg="mod">
          <ac:chgData name="Thomsen, Anja Thrane Hejselbæk" userId="S::anja.thomsen@wsp.com::421def61-de89-470a-af4b-6891fcfede3a" providerId="AD" clId="Web-{4E2D6232-67DD-DF60-8AE1-264DE5DC2963}" dt="2026-02-24T20:41:58.566" v="163"/>
          <ac:spMkLst>
            <pc:docMk/>
            <pc:sldMk cId="558249199" sldId="535"/>
            <ac:spMk id="4" creationId="{4ACE99BF-D007-030F-17E4-70BFF3A3B9F0}"/>
          </ac:spMkLst>
        </pc:spChg>
        <pc:spChg chg="mod">
          <ac:chgData name="Thomsen, Anja Thrane Hejselbæk" userId="S::anja.thomsen@wsp.com::421def61-de89-470a-af4b-6891fcfede3a" providerId="AD" clId="Web-{4E2D6232-67DD-DF60-8AE1-264DE5DC2963}" dt="2026-02-24T20:42:58.960" v="168" actId="1076"/>
          <ac:spMkLst>
            <pc:docMk/>
            <pc:sldMk cId="558249199" sldId="535"/>
            <ac:spMk id="5" creationId="{4A8A74FB-D59E-2779-EFDD-4CF9A94960C1}"/>
          </ac:spMkLst>
        </pc:spChg>
        <pc:spChg chg="add del">
          <ac:chgData name="Thomsen, Anja Thrane Hejselbæk" userId="S::anja.thomsen@wsp.com::421def61-de89-470a-af4b-6891fcfede3a" providerId="AD" clId="Web-{4E2D6232-67DD-DF60-8AE1-264DE5DC2963}" dt="2026-02-24T20:41:58.566" v="163"/>
          <ac:spMkLst>
            <pc:docMk/>
            <pc:sldMk cId="558249199" sldId="535"/>
            <ac:spMk id="11" creationId="{E4C11D9E-9C20-7346-A49C-894C6C033EAA}"/>
          </ac:spMkLst>
        </pc:spChg>
        <pc:picChg chg="add mod ord">
          <ac:chgData name="Thomsen, Anja Thrane Hejselbæk" userId="S::anja.thomsen@wsp.com::421def61-de89-470a-af4b-6891fcfede3a" providerId="AD" clId="Web-{4E2D6232-67DD-DF60-8AE1-264DE5DC2963}" dt="2026-02-24T20:41:58.566" v="163"/>
          <ac:picMkLst>
            <pc:docMk/>
            <pc:sldMk cId="558249199" sldId="535"/>
            <ac:picMk id="6" creationId="{920F291E-E955-2FE4-B8C5-531C2F946B2A}"/>
          </ac:picMkLst>
        </pc:picChg>
      </pc:sldChg>
      <pc:sldChg chg="addSp modSp add replId">
        <pc:chgData name="Thomsen, Anja Thrane Hejselbæk" userId="S::anja.thomsen@wsp.com::421def61-de89-470a-af4b-6891fcfede3a" providerId="AD" clId="Web-{4E2D6232-67DD-DF60-8AE1-264DE5DC2963}" dt="2026-02-24T21:39:32.824" v="186" actId="1076"/>
        <pc:sldMkLst>
          <pc:docMk/>
          <pc:sldMk cId="1656990822" sldId="540"/>
        </pc:sldMkLst>
        <pc:spChg chg="mod">
          <ac:chgData name="Thomsen, Anja Thrane Hejselbæk" userId="S::anja.thomsen@wsp.com::421def61-de89-470a-af4b-6891fcfede3a" providerId="AD" clId="Web-{4E2D6232-67DD-DF60-8AE1-264DE5DC2963}" dt="2026-02-24T20:55:19.357" v="175" actId="20577"/>
          <ac:spMkLst>
            <pc:docMk/>
            <pc:sldMk cId="1656990822" sldId="540"/>
            <ac:spMk id="10" creationId="{C5F73E7B-21F5-514D-B1F8-205EC701B1BB}"/>
          </ac:spMkLst>
        </pc:spChg>
        <pc:spChg chg="mod">
          <ac:chgData name="Thomsen, Anja Thrane Hejselbæk" userId="S::anja.thomsen@wsp.com::421def61-de89-470a-af4b-6891fcfede3a" providerId="AD" clId="Web-{4E2D6232-67DD-DF60-8AE1-264DE5DC2963}" dt="2026-02-24T20:55:43.232" v="176" actId="14100"/>
          <ac:spMkLst>
            <pc:docMk/>
            <pc:sldMk cId="1656990822" sldId="540"/>
            <ac:spMk id="11" creationId="{754F3839-A0BB-1DFB-BF76-1AE3158569B3}"/>
          </ac:spMkLst>
        </pc:spChg>
        <pc:picChg chg="mod modCrop">
          <ac:chgData name="Thomsen, Anja Thrane Hejselbæk" userId="S::anja.thomsen@wsp.com::421def61-de89-470a-af4b-6891fcfede3a" providerId="AD" clId="Web-{4E2D6232-67DD-DF60-8AE1-264DE5DC2963}" dt="2026-02-24T20:56:41.905" v="179" actId="1076"/>
          <ac:picMkLst>
            <pc:docMk/>
            <pc:sldMk cId="1656990822" sldId="540"/>
            <ac:picMk id="2" creationId="{F5C61753-816C-59EC-1880-9CA16FD16FB7}"/>
          </ac:picMkLst>
        </pc:picChg>
        <pc:picChg chg="add mod modCrop">
          <ac:chgData name="Thomsen, Anja Thrane Hejselbæk" userId="S::anja.thomsen@wsp.com::421def61-de89-470a-af4b-6891fcfede3a" providerId="AD" clId="Web-{4E2D6232-67DD-DF60-8AE1-264DE5DC2963}" dt="2026-02-24T21:39:32.824" v="186" actId="1076"/>
          <ac:picMkLst>
            <pc:docMk/>
            <pc:sldMk cId="1656990822" sldId="540"/>
            <ac:picMk id="3" creationId="{4F0A2038-470B-D045-CF1B-F4AC8F54E88B}"/>
          </ac:picMkLst>
        </pc:picChg>
      </pc:sldChg>
    </pc:docChg>
  </pc:docChgLst>
  <pc:docChgLst>
    <pc:chgData name="Thomsen, Anja Thrane Hejselbæk" userId="421def61-de89-470a-af4b-6891fcfede3a" providerId="ADAL" clId="{B64C4BB1-81B5-4712-A4C6-86C3A54CA0C4}"/>
    <pc:docChg chg="undo custSel modSld">
      <pc:chgData name="Thomsen, Anja Thrane Hejselbæk" userId="421def61-de89-470a-af4b-6891fcfede3a" providerId="ADAL" clId="{B64C4BB1-81B5-4712-A4C6-86C3A54CA0C4}" dt="2026-02-24T21:56:53.403" v="41"/>
      <pc:docMkLst>
        <pc:docMk/>
      </pc:docMkLst>
      <pc:sldChg chg="addSp delSp modSp mod">
        <pc:chgData name="Thomsen, Anja Thrane Hejselbæk" userId="421def61-de89-470a-af4b-6891fcfede3a" providerId="ADAL" clId="{B64C4BB1-81B5-4712-A4C6-86C3A54CA0C4}" dt="2026-02-24T21:56:02.416" v="37" actId="14100"/>
        <pc:sldMkLst>
          <pc:docMk/>
          <pc:sldMk cId="1758669943" sldId="294"/>
        </pc:sldMkLst>
        <pc:spChg chg="add mod">
          <ac:chgData name="Thomsen, Anja Thrane Hejselbæk" userId="421def61-de89-470a-af4b-6891fcfede3a" providerId="ADAL" clId="{B64C4BB1-81B5-4712-A4C6-86C3A54CA0C4}" dt="2026-02-24T21:51:36.670" v="1" actId="14100"/>
          <ac:spMkLst>
            <pc:docMk/>
            <pc:sldMk cId="1758669943" sldId="294"/>
            <ac:spMk id="3" creationId="{A385F469-FCFD-5734-1B49-7E14F58008CB}"/>
          </ac:spMkLst>
        </pc:spChg>
        <pc:spChg chg="add mod">
          <ac:chgData name="Thomsen, Anja Thrane Hejselbæk" userId="421def61-de89-470a-af4b-6891fcfede3a" providerId="ADAL" clId="{B64C4BB1-81B5-4712-A4C6-86C3A54CA0C4}" dt="2026-02-24T21:51:59.497" v="5" actId="166"/>
          <ac:spMkLst>
            <pc:docMk/>
            <pc:sldMk cId="1758669943" sldId="294"/>
            <ac:spMk id="5" creationId="{257BE454-963C-939B-C2DE-7A378558D90D}"/>
          </ac:spMkLst>
        </pc:spChg>
        <pc:spChg chg="del">
          <ac:chgData name="Thomsen, Anja Thrane Hejselbæk" userId="421def61-de89-470a-af4b-6891fcfede3a" providerId="ADAL" clId="{B64C4BB1-81B5-4712-A4C6-86C3A54CA0C4}" dt="2026-02-24T21:53:45.192" v="13" actId="478"/>
          <ac:spMkLst>
            <pc:docMk/>
            <pc:sldMk cId="1758669943" sldId="294"/>
            <ac:spMk id="11" creationId="{1CE0196A-747D-B04D-1FB7-9E368D729526}"/>
          </ac:spMkLst>
        </pc:spChg>
        <pc:picChg chg="del">
          <ac:chgData name="Thomsen, Anja Thrane Hejselbæk" userId="421def61-de89-470a-af4b-6891fcfede3a" providerId="ADAL" clId="{B64C4BB1-81B5-4712-A4C6-86C3A54CA0C4}" dt="2026-02-24T21:55:19.010" v="29" actId="478"/>
          <ac:picMkLst>
            <pc:docMk/>
            <pc:sldMk cId="1758669943" sldId="294"/>
            <ac:picMk id="6" creationId="{F47AB9AA-0C24-5AF3-0622-7B777FF1C42C}"/>
          </ac:picMkLst>
        </pc:picChg>
        <pc:picChg chg="add mod">
          <ac:chgData name="Thomsen, Anja Thrane Hejselbæk" userId="421def61-de89-470a-af4b-6891fcfede3a" providerId="ADAL" clId="{B64C4BB1-81B5-4712-A4C6-86C3A54CA0C4}" dt="2026-02-24T21:54:23.373" v="23" actId="1076"/>
          <ac:picMkLst>
            <pc:docMk/>
            <pc:sldMk cId="1758669943" sldId="294"/>
            <ac:picMk id="7" creationId="{B6255B19-D612-BB88-9B52-BD4A836C164C}"/>
          </ac:picMkLst>
        </pc:picChg>
        <pc:picChg chg="add mod">
          <ac:chgData name="Thomsen, Anja Thrane Hejselbæk" userId="421def61-de89-470a-af4b-6891fcfede3a" providerId="ADAL" clId="{B64C4BB1-81B5-4712-A4C6-86C3A54CA0C4}" dt="2026-02-24T21:54:46.722" v="26" actId="1076"/>
          <ac:picMkLst>
            <pc:docMk/>
            <pc:sldMk cId="1758669943" sldId="294"/>
            <ac:picMk id="8" creationId="{64C6439C-82C1-B2DB-2713-58C3A03B0B42}"/>
          </ac:picMkLst>
        </pc:picChg>
        <pc:picChg chg="mod">
          <ac:chgData name="Thomsen, Anja Thrane Hejselbæk" userId="421def61-de89-470a-af4b-6891fcfede3a" providerId="ADAL" clId="{B64C4BB1-81B5-4712-A4C6-86C3A54CA0C4}" dt="2026-02-24T21:56:02.416" v="37" actId="14100"/>
          <ac:picMkLst>
            <pc:docMk/>
            <pc:sldMk cId="1758669943" sldId="294"/>
            <ac:picMk id="12" creationId="{0A1D3235-BCF9-5B30-AA0D-86DF1CC9D506}"/>
          </ac:picMkLst>
        </pc:picChg>
        <pc:picChg chg="add mod">
          <ac:chgData name="Thomsen, Anja Thrane Hejselbæk" userId="421def61-de89-470a-af4b-6891fcfede3a" providerId="ADAL" clId="{B64C4BB1-81B5-4712-A4C6-86C3A54CA0C4}" dt="2026-02-24T21:55:49.509" v="35" actId="1076"/>
          <ac:picMkLst>
            <pc:docMk/>
            <pc:sldMk cId="1758669943" sldId="294"/>
            <ac:picMk id="13" creationId="{96D97B98-78B7-5374-206C-30D313940B8E}"/>
          </ac:picMkLst>
        </pc:picChg>
      </pc:sldChg>
      <pc:sldChg chg="addSp modSp mod">
        <pc:chgData name="Thomsen, Anja Thrane Hejselbæk" userId="421def61-de89-470a-af4b-6891fcfede3a" providerId="ADAL" clId="{B64C4BB1-81B5-4712-A4C6-86C3A54CA0C4}" dt="2026-02-24T21:56:35.862" v="40" actId="14100"/>
        <pc:sldMkLst>
          <pc:docMk/>
          <pc:sldMk cId="3272657244" sldId="314"/>
        </pc:sldMkLst>
        <pc:picChg chg="add mod">
          <ac:chgData name="Thomsen, Anja Thrane Hejselbæk" userId="421def61-de89-470a-af4b-6891fcfede3a" providerId="ADAL" clId="{B64C4BB1-81B5-4712-A4C6-86C3A54CA0C4}" dt="2026-02-24T21:56:35.862" v="40" actId="14100"/>
          <ac:picMkLst>
            <pc:docMk/>
            <pc:sldMk cId="3272657244" sldId="314"/>
            <ac:picMk id="4" creationId="{4CE64FCA-2715-DEBE-34AF-828EE3819694}"/>
          </ac:picMkLst>
        </pc:picChg>
      </pc:sldChg>
      <pc:sldChg chg="addSp modSp">
        <pc:chgData name="Thomsen, Anja Thrane Hejselbæk" userId="421def61-de89-470a-af4b-6891fcfede3a" providerId="ADAL" clId="{B64C4BB1-81B5-4712-A4C6-86C3A54CA0C4}" dt="2026-02-24T21:52:45.571" v="10"/>
        <pc:sldMkLst>
          <pc:docMk/>
          <pc:sldMk cId="2270494776" sldId="520"/>
        </pc:sldMkLst>
        <pc:spChg chg="add mod">
          <ac:chgData name="Thomsen, Anja Thrane Hejselbæk" userId="421def61-de89-470a-af4b-6891fcfede3a" providerId="ADAL" clId="{B64C4BB1-81B5-4712-A4C6-86C3A54CA0C4}" dt="2026-02-24T21:52:12.730" v="8" actId="14100"/>
          <ac:spMkLst>
            <pc:docMk/>
            <pc:sldMk cId="2270494776" sldId="520"/>
            <ac:spMk id="7" creationId="{74D75D28-3220-B7C5-E429-D7FF148B9FD8}"/>
          </ac:spMkLst>
        </pc:spChg>
        <pc:spChg chg="add">
          <ac:chgData name="Thomsen, Anja Thrane Hejselbæk" userId="421def61-de89-470a-af4b-6891fcfede3a" providerId="ADAL" clId="{B64C4BB1-81B5-4712-A4C6-86C3A54CA0C4}" dt="2026-02-24T21:52:45.571" v="10"/>
          <ac:spMkLst>
            <pc:docMk/>
            <pc:sldMk cId="2270494776" sldId="520"/>
            <ac:spMk id="9" creationId="{C9509E2C-68A1-53AE-0D0A-4F4021C0C071}"/>
          </ac:spMkLst>
        </pc:spChg>
        <pc:picChg chg="add">
          <ac:chgData name="Thomsen, Anja Thrane Hejselbæk" userId="421def61-de89-470a-af4b-6891fcfede3a" providerId="ADAL" clId="{B64C4BB1-81B5-4712-A4C6-86C3A54CA0C4}" dt="2026-02-24T21:52:38.865" v="9"/>
          <ac:picMkLst>
            <pc:docMk/>
            <pc:sldMk cId="2270494776" sldId="520"/>
            <ac:picMk id="8" creationId="{E0DA8243-EEFC-3AA5-FCDF-580E146B7E50}"/>
          </ac:picMkLst>
        </pc:picChg>
      </pc:sldChg>
      <pc:sldChg chg="addSp modSp">
        <pc:chgData name="Thomsen, Anja Thrane Hejselbæk" userId="421def61-de89-470a-af4b-6891fcfede3a" providerId="ADAL" clId="{B64C4BB1-81B5-4712-A4C6-86C3A54CA0C4}" dt="2026-02-24T21:56:53.403" v="41"/>
        <pc:sldMkLst>
          <pc:docMk/>
          <pc:sldMk cId="558249199" sldId="535"/>
        </pc:sldMkLst>
        <pc:picChg chg="add mod">
          <ac:chgData name="Thomsen, Anja Thrane Hejselbæk" userId="421def61-de89-470a-af4b-6891fcfede3a" providerId="ADAL" clId="{B64C4BB1-81B5-4712-A4C6-86C3A54CA0C4}" dt="2026-02-24T21:56:53.403" v="41"/>
          <ac:picMkLst>
            <pc:docMk/>
            <pc:sldMk cId="558249199" sldId="535"/>
            <ac:picMk id="3" creationId="{B4B91DCB-62BA-3BC4-53C6-8041E052534D}"/>
          </ac:picMkLst>
        </pc:picChg>
        <pc:picChg chg="add mod">
          <ac:chgData name="Thomsen, Anja Thrane Hejselbæk" userId="421def61-de89-470a-af4b-6891fcfede3a" providerId="ADAL" clId="{B64C4BB1-81B5-4712-A4C6-86C3A54CA0C4}" dt="2026-02-24T21:56:53.403" v="41"/>
          <ac:picMkLst>
            <pc:docMk/>
            <pc:sldMk cId="558249199" sldId="535"/>
            <ac:picMk id="7" creationId="{6509C221-247F-54AE-33A5-0F04A9522BAB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12884C-B714-4DEF-9360-9095C79A5034}" type="datetimeFigureOut">
              <a:rPr lang="da-DK" smtClean="0"/>
              <a:t>25-02-2026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895909-989E-46E9-BDF9-A472421A36D1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067774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F98CBB-D064-28BC-A1A0-B47F5D2214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1AF4DED-CC3C-B10B-9FCF-836C6866EA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C841527-B686-8F0D-843E-5103232424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63C0C1-B245-B087-6F08-3892F7942D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160270-B91B-F943-996A-5642B4602F5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16866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2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svg"/><Relationship Id="rId3" Type="http://schemas.openxmlformats.org/officeDocument/2006/relationships/image" Target="../media/image7.svg"/><Relationship Id="rId7" Type="http://schemas.openxmlformats.org/officeDocument/2006/relationships/image" Target="../media/image16.svg"/><Relationship Id="rId12" Type="http://schemas.openxmlformats.org/officeDocument/2006/relationships/image" Target="../media/image2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png"/><Relationship Id="rId11" Type="http://schemas.openxmlformats.org/officeDocument/2006/relationships/image" Target="../media/image20.svg"/><Relationship Id="rId5" Type="http://schemas.openxmlformats.org/officeDocument/2006/relationships/image" Target="../media/image14.svg"/><Relationship Id="rId15" Type="http://schemas.openxmlformats.org/officeDocument/2006/relationships/image" Target="../media/image24.sv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svg"/><Relationship Id="rId14" Type="http://schemas.openxmlformats.org/officeDocument/2006/relationships/image" Target="../media/image23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28.sv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29.svg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29.sv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609299" y="0"/>
            <a:ext cx="5582701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and </a:t>
            </a:r>
            <a:r>
              <a:rPr lang="da-DK" err="1"/>
              <a:t>insert</a:t>
            </a:r>
            <a:r>
              <a:rPr lang="da-DK"/>
              <a:t> image</a:t>
            </a:r>
          </a:p>
        </p:txBody>
      </p:sp>
      <p:sp>
        <p:nvSpPr>
          <p:cNvPr id="5" name="Pladsholder til diasnummer 4" hidden="1"/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11C61C4F-80D2-44D9-AC16-5BDCC4AC25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8800" y="1271239"/>
            <a:ext cx="6138253" cy="4888261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16" name="Logo on top">
            <a:extLst>
              <a:ext uri="{FF2B5EF4-FFF2-40B4-BE49-F238E27FC236}">
                <a16:creationId xmlns:a16="http://schemas.microsoft.com/office/drawing/2014/main" id="{DFBC9626-F092-47C9-AA7F-877A4D548D6A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2A8B5DC-E0B6-4F5B-9EF6-BD08944C65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468000"/>
            <a:ext cx="6137695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headline</a:t>
            </a:r>
            <a:endParaRPr lang="da-DK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A3C355-B5B0-4F74-AEFA-EFA87C8185AD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da-DK" sz="800" smtClean="0">
                <a:solidFill>
                  <a:schemeClr val="bg1"/>
                </a:solidFill>
              </a:rPr>
              <a:pPr/>
              <a:t>‹#›</a:t>
            </a:fld>
            <a:endParaRPr lang="da-DK" sz="800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0638B49-B33F-44E1-892C-5107504D10AD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1286933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99175F7-10F0-4AE7-95C3-EE3CD9FB5FCA}"/>
              </a:ext>
            </a:extLst>
          </p:cNvPr>
          <p:cNvCxnSpPr>
            <a:cxnSpLocks/>
          </p:cNvCxnSpPr>
          <p:nvPr/>
        </p:nvCxnSpPr>
        <p:spPr>
          <a:xfrm>
            <a:off x="6080056" y="6264000"/>
            <a:ext cx="535259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41950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3" pos="4383" userDrawn="1">
          <p15:clr>
            <a:srgbClr val="A4A3A4"/>
          </p15:clr>
        </p15:guide>
        <p15:guide id="4" pos="4721" userDrawn="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and facts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da-DK" err="1"/>
              <a:t>Click</a:t>
            </a:r>
            <a:r>
              <a:rPr lang="da-DK"/>
              <a:t> and </a:t>
            </a:r>
            <a:r>
              <a:rPr lang="da-DK" err="1"/>
              <a:t>insert</a:t>
            </a:r>
            <a:r>
              <a:rPr lang="da-DK"/>
              <a:t> imag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11C568C-1366-4320-8865-29A4BCBD3CF8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1DD3273-B680-4780-B64F-DB4D639685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4800" y="75469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accent4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07F7715-539C-419D-B06E-CE581682410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4800" y="116011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accent4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50A8B5B0-B1D0-40CC-AA40-F684963A8D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4800" y="202596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accent4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B97C30A8-CAF2-41AD-9341-C55E22BECA5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4800" y="243138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accent4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4296EB66-8D90-405F-B3F4-4A9EC002881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4800" y="328058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accent4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A322DCF-FFFA-4ABB-A7BE-07DCE364A2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4800" y="368600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accent4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8DDCC1B0-685A-4C94-9B2A-5DA51DC4BD6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4800" y="457965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accent4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C3EF5DDD-BE51-4032-9C12-A72766DCD6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4800" y="498507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accent4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1942F715-4FB3-44DC-99FF-3B3F17A28A2A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9E668DE7-32E7-4B9B-9526-AE30433F4862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da-DK" smtClean="0">
                <a:solidFill>
                  <a:schemeClr val="accent4"/>
                </a:solidFill>
              </a:rPr>
              <a:pPr/>
              <a:t>‹#›</a:t>
            </a:fld>
            <a:endParaRPr lang="da-DK">
              <a:solidFill>
                <a:schemeClr val="accent4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81BEB20-8C11-411C-B312-9A4940EC8696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B35451B-AF57-81CF-B041-327BA0A59EF4}"/>
              </a:ext>
            </a:extLst>
          </p:cNvPr>
          <p:cNvSpPr txBox="1">
            <a:spLocks/>
          </p:cNvSpPr>
          <p:nvPr userDrawn="1"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186167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3" pos="3839" userDrawn="1">
          <p15:clr>
            <a:srgbClr val="A4A3A4"/>
          </p15:clr>
        </p15:guide>
        <p15:guide id="4" pos="3653" userDrawn="1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s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aphic 4">
            <a:extLst>
              <a:ext uri="{FF2B5EF4-FFF2-40B4-BE49-F238E27FC236}">
                <a16:creationId xmlns:a16="http://schemas.microsoft.com/office/drawing/2014/main" id="{A2D4C4CC-2C2B-4E4A-BABE-191099A7DF52}"/>
              </a:ext>
            </a:extLst>
          </p:cNvPr>
          <p:cNvGrpSpPr/>
          <p:nvPr/>
        </p:nvGrpSpPr>
        <p:grpSpPr>
          <a:xfrm>
            <a:off x="10752600" y="6339508"/>
            <a:ext cx="1075757" cy="333967"/>
            <a:chOff x="10752600" y="6339508"/>
            <a:chExt cx="1075757" cy="333967"/>
          </a:xfrm>
          <a:solidFill>
            <a:srgbClr val="B70D18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1D26526-0348-41C0-8F96-4FFE4213BD27}"/>
                </a:ext>
              </a:extLst>
            </p:cNvPr>
            <p:cNvSpPr/>
            <p:nvPr/>
          </p:nvSpPr>
          <p:spPr>
            <a:xfrm>
              <a:off x="10752600" y="6494402"/>
              <a:ext cx="217421" cy="174789"/>
            </a:xfrm>
            <a:custGeom>
              <a:avLst/>
              <a:gdLst>
                <a:gd name="connsiteX0" fmla="*/ 0 w 217421"/>
                <a:gd name="connsiteY0" fmla="*/ 0 h 174789"/>
                <a:gd name="connsiteX1" fmla="*/ 0 w 217421"/>
                <a:gd name="connsiteY1" fmla="*/ 174790 h 174789"/>
                <a:gd name="connsiteX2" fmla="*/ 52579 w 217421"/>
                <a:gd name="connsiteY2" fmla="*/ 174790 h 174789"/>
                <a:gd name="connsiteX3" fmla="*/ 59684 w 217421"/>
                <a:gd name="connsiteY3" fmla="*/ 69632 h 174789"/>
                <a:gd name="connsiteX4" fmla="*/ 164842 w 217421"/>
                <a:gd name="connsiteY4" fmla="*/ 174790 h 174789"/>
                <a:gd name="connsiteX5" fmla="*/ 217421 w 217421"/>
                <a:gd name="connsiteY5" fmla="*/ 174790 h 174789"/>
                <a:gd name="connsiteX6" fmla="*/ 217421 w 217421"/>
                <a:gd name="connsiteY6" fmla="*/ 0 h 174789"/>
                <a:gd name="connsiteX7" fmla="*/ 162000 w 217421"/>
                <a:gd name="connsiteY7" fmla="*/ 0 h 174789"/>
                <a:gd name="connsiteX8" fmla="*/ 156316 w 217421"/>
                <a:gd name="connsiteY8" fmla="*/ 92369 h 174789"/>
                <a:gd name="connsiteX9" fmla="*/ 66789 w 217421"/>
                <a:gd name="connsiteY9" fmla="*/ 0 h 174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421" h="174789">
                  <a:moveTo>
                    <a:pt x="0" y="0"/>
                  </a:moveTo>
                  <a:lnTo>
                    <a:pt x="0" y="174790"/>
                  </a:lnTo>
                  <a:lnTo>
                    <a:pt x="52579" y="174790"/>
                  </a:lnTo>
                  <a:lnTo>
                    <a:pt x="59684" y="69632"/>
                  </a:lnTo>
                  <a:lnTo>
                    <a:pt x="164842" y="174790"/>
                  </a:lnTo>
                  <a:lnTo>
                    <a:pt x="217421" y="174790"/>
                  </a:lnTo>
                  <a:lnTo>
                    <a:pt x="217421" y="0"/>
                  </a:lnTo>
                  <a:lnTo>
                    <a:pt x="162000" y="0"/>
                  </a:lnTo>
                  <a:lnTo>
                    <a:pt x="156316" y="92369"/>
                  </a:lnTo>
                  <a:lnTo>
                    <a:pt x="66789" y="0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806EF12-398C-4FA4-9EBB-F4BA09658974}"/>
                </a:ext>
              </a:extLst>
            </p:cNvPr>
            <p:cNvSpPr/>
            <p:nvPr/>
          </p:nvSpPr>
          <p:spPr>
            <a:xfrm>
              <a:off x="11021178" y="6494402"/>
              <a:ext cx="58263" cy="176210"/>
            </a:xfrm>
            <a:custGeom>
              <a:avLst/>
              <a:gdLst>
                <a:gd name="connsiteX0" fmla="*/ 0 w 58263"/>
                <a:gd name="connsiteY0" fmla="*/ 0 h 176210"/>
                <a:gd name="connsiteX1" fmla="*/ 58263 w 58263"/>
                <a:gd name="connsiteY1" fmla="*/ 0 h 176210"/>
                <a:gd name="connsiteX2" fmla="*/ 58263 w 58263"/>
                <a:gd name="connsiteY2" fmla="*/ 176211 h 176210"/>
                <a:gd name="connsiteX3" fmla="*/ 0 w 58263"/>
                <a:gd name="connsiteY3" fmla="*/ 176211 h 176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263" h="176210">
                  <a:moveTo>
                    <a:pt x="0" y="0"/>
                  </a:moveTo>
                  <a:lnTo>
                    <a:pt x="58263" y="0"/>
                  </a:lnTo>
                  <a:lnTo>
                    <a:pt x="58263" y="176211"/>
                  </a:lnTo>
                  <a:lnTo>
                    <a:pt x="0" y="176211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grpSp>
          <p:nvGrpSpPr>
            <p:cNvPr id="9" name="Graphic 4">
              <a:extLst>
                <a:ext uri="{FF2B5EF4-FFF2-40B4-BE49-F238E27FC236}">
                  <a16:creationId xmlns:a16="http://schemas.microsoft.com/office/drawing/2014/main" id="{A2D4C4CC-2C2B-4E4A-BABE-191099A7DF52}"/>
                </a:ext>
              </a:extLst>
            </p:cNvPr>
            <p:cNvGrpSpPr/>
            <p:nvPr/>
          </p:nvGrpSpPr>
          <p:grpSpPr>
            <a:xfrm>
              <a:off x="11130600" y="6339508"/>
              <a:ext cx="697757" cy="333967"/>
              <a:chOff x="11130600" y="6339508"/>
              <a:chExt cx="697757" cy="333967"/>
            </a:xfrm>
            <a:solidFill>
              <a:srgbClr val="B70D18"/>
            </a:solidFill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78693BFF-818B-4A5E-928F-B07A728B5490}"/>
                  </a:ext>
                </a:extLst>
              </p:cNvPr>
              <p:cNvSpPr/>
              <p:nvPr/>
            </p:nvSpPr>
            <p:spPr>
              <a:xfrm>
                <a:off x="11130600" y="6490139"/>
                <a:ext cx="200489" cy="180473"/>
              </a:xfrm>
              <a:custGeom>
                <a:avLst/>
                <a:gdLst>
                  <a:gd name="connsiteX0" fmla="*/ 200368 w 200489"/>
                  <a:gd name="connsiteY0" fmla="*/ 55421 h 180473"/>
                  <a:gd name="connsiteX1" fmla="*/ 108000 w 200489"/>
                  <a:gd name="connsiteY1" fmla="*/ 0 h 180473"/>
                  <a:gd name="connsiteX2" fmla="*/ 0 w 200489"/>
                  <a:gd name="connsiteY2" fmla="*/ 2842 h 180473"/>
                  <a:gd name="connsiteX3" fmla="*/ 0 w 200489"/>
                  <a:gd name="connsiteY3" fmla="*/ 179053 h 180473"/>
                  <a:gd name="connsiteX4" fmla="*/ 52579 w 200489"/>
                  <a:gd name="connsiteY4" fmla="*/ 179053 h 180473"/>
                  <a:gd name="connsiteX5" fmla="*/ 61105 w 200489"/>
                  <a:gd name="connsiteY5" fmla="*/ 38368 h 180473"/>
                  <a:gd name="connsiteX6" fmla="*/ 96632 w 200489"/>
                  <a:gd name="connsiteY6" fmla="*/ 36947 h 180473"/>
                  <a:gd name="connsiteX7" fmla="*/ 136421 w 200489"/>
                  <a:gd name="connsiteY7" fmla="*/ 59684 h 180473"/>
                  <a:gd name="connsiteX8" fmla="*/ 81000 w 200489"/>
                  <a:gd name="connsiteY8" fmla="*/ 90947 h 180473"/>
                  <a:gd name="connsiteX9" fmla="*/ 81000 w 200489"/>
                  <a:gd name="connsiteY9" fmla="*/ 119369 h 180473"/>
                  <a:gd name="connsiteX10" fmla="*/ 137842 w 200489"/>
                  <a:gd name="connsiteY10" fmla="*/ 180474 h 180473"/>
                  <a:gd name="connsiteX11" fmla="*/ 198947 w 200489"/>
                  <a:gd name="connsiteY11" fmla="*/ 180474 h 180473"/>
                  <a:gd name="connsiteX12" fmla="*/ 153474 w 200489"/>
                  <a:gd name="connsiteY12" fmla="*/ 116526 h 180473"/>
                  <a:gd name="connsiteX13" fmla="*/ 200368 w 200489"/>
                  <a:gd name="connsiteY13" fmla="*/ 55421 h 18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00489" h="180473">
                    <a:moveTo>
                      <a:pt x="200368" y="55421"/>
                    </a:moveTo>
                    <a:cubicBezTo>
                      <a:pt x="197526" y="9947"/>
                      <a:pt x="147789" y="1421"/>
                      <a:pt x="108000" y="0"/>
                    </a:cubicBezTo>
                    <a:cubicBezTo>
                      <a:pt x="75316" y="0"/>
                      <a:pt x="0" y="2842"/>
                      <a:pt x="0" y="2842"/>
                    </a:cubicBezTo>
                    <a:lnTo>
                      <a:pt x="0" y="179053"/>
                    </a:lnTo>
                    <a:lnTo>
                      <a:pt x="52579" y="179053"/>
                    </a:lnTo>
                    <a:lnTo>
                      <a:pt x="61105" y="38368"/>
                    </a:lnTo>
                    <a:cubicBezTo>
                      <a:pt x="61105" y="38368"/>
                      <a:pt x="82421" y="36947"/>
                      <a:pt x="96632" y="36947"/>
                    </a:cubicBezTo>
                    <a:cubicBezTo>
                      <a:pt x="119368" y="36947"/>
                      <a:pt x="135000" y="45474"/>
                      <a:pt x="136421" y="59684"/>
                    </a:cubicBezTo>
                    <a:cubicBezTo>
                      <a:pt x="137842" y="73895"/>
                      <a:pt x="132158" y="90947"/>
                      <a:pt x="81000" y="90947"/>
                    </a:cubicBezTo>
                    <a:lnTo>
                      <a:pt x="81000" y="119369"/>
                    </a:lnTo>
                    <a:lnTo>
                      <a:pt x="137842" y="180474"/>
                    </a:lnTo>
                    <a:lnTo>
                      <a:pt x="198947" y="180474"/>
                    </a:lnTo>
                    <a:lnTo>
                      <a:pt x="153474" y="116526"/>
                    </a:lnTo>
                    <a:cubicBezTo>
                      <a:pt x="154895" y="115105"/>
                      <a:pt x="203211" y="102316"/>
                      <a:pt x="200368" y="55421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B46F5E6-A5F0-4105-B4BA-6AEC5163ACC5}"/>
                  </a:ext>
                </a:extLst>
              </p:cNvPr>
              <p:cNvSpPr/>
              <p:nvPr/>
            </p:nvSpPr>
            <p:spPr>
              <a:xfrm>
                <a:off x="11357968" y="6471666"/>
                <a:ext cx="261473" cy="197526"/>
              </a:xfrm>
              <a:custGeom>
                <a:avLst/>
                <a:gdLst>
                  <a:gd name="connsiteX0" fmla="*/ 176211 w 261473"/>
                  <a:gd name="connsiteY0" fmla="*/ 22737 h 197526"/>
                  <a:gd name="connsiteX1" fmla="*/ 89526 w 261473"/>
                  <a:gd name="connsiteY1" fmla="*/ 22737 h 197526"/>
                  <a:gd name="connsiteX2" fmla="*/ 52579 w 261473"/>
                  <a:gd name="connsiteY2" fmla="*/ 92369 h 197526"/>
                  <a:gd name="connsiteX3" fmla="*/ 1421 w 261473"/>
                  <a:gd name="connsiteY3" fmla="*/ 0 h 197526"/>
                  <a:gd name="connsiteX4" fmla="*/ 0 w 261473"/>
                  <a:gd name="connsiteY4" fmla="*/ 0 h 197526"/>
                  <a:gd name="connsiteX5" fmla="*/ 0 w 261473"/>
                  <a:gd name="connsiteY5" fmla="*/ 75316 h 197526"/>
                  <a:gd name="connsiteX6" fmla="*/ 32684 w 261473"/>
                  <a:gd name="connsiteY6" fmla="*/ 135000 h 197526"/>
                  <a:gd name="connsiteX7" fmla="*/ 2842 w 261473"/>
                  <a:gd name="connsiteY7" fmla="*/ 197527 h 197526"/>
                  <a:gd name="connsiteX8" fmla="*/ 59684 w 261473"/>
                  <a:gd name="connsiteY8" fmla="*/ 197527 h 197526"/>
                  <a:gd name="connsiteX9" fmla="*/ 78158 w 261473"/>
                  <a:gd name="connsiteY9" fmla="*/ 163421 h 197526"/>
                  <a:gd name="connsiteX10" fmla="*/ 78158 w 261473"/>
                  <a:gd name="connsiteY10" fmla="*/ 163421 h 197526"/>
                  <a:gd name="connsiteX11" fmla="*/ 133579 w 261473"/>
                  <a:gd name="connsiteY11" fmla="*/ 173369 h 197526"/>
                  <a:gd name="connsiteX12" fmla="*/ 133579 w 261473"/>
                  <a:gd name="connsiteY12" fmla="*/ 123632 h 197526"/>
                  <a:gd name="connsiteX13" fmla="*/ 102316 w 261473"/>
                  <a:gd name="connsiteY13" fmla="*/ 117948 h 197526"/>
                  <a:gd name="connsiteX14" fmla="*/ 130737 w 261473"/>
                  <a:gd name="connsiteY14" fmla="*/ 66790 h 197526"/>
                  <a:gd name="connsiteX15" fmla="*/ 204632 w 261473"/>
                  <a:gd name="connsiteY15" fmla="*/ 197527 h 197526"/>
                  <a:gd name="connsiteX16" fmla="*/ 261474 w 261473"/>
                  <a:gd name="connsiteY16" fmla="*/ 197527 h 197526"/>
                  <a:gd name="connsiteX17" fmla="*/ 217421 w 261473"/>
                  <a:gd name="connsiteY17" fmla="*/ 105158 h 197526"/>
                  <a:gd name="connsiteX18" fmla="*/ 176211 w 261473"/>
                  <a:gd name="connsiteY18" fmla="*/ 22737 h 197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61473" h="197526">
                    <a:moveTo>
                      <a:pt x="176211" y="22737"/>
                    </a:moveTo>
                    <a:lnTo>
                      <a:pt x="89526" y="22737"/>
                    </a:lnTo>
                    <a:cubicBezTo>
                      <a:pt x="89526" y="22737"/>
                      <a:pt x="81000" y="35526"/>
                      <a:pt x="52579" y="92369"/>
                    </a:cubicBezTo>
                    <a:cubicBezTo>
                      <a:pt x="14211" y="61105"/>
                      <a:pt x="4263" y="19895"/>
                      <a:pt x="1421" y="0"/>
                    </a:cubicBezTo>
                    <a:lnTo>
                      <a:pt x="0" y="0"/>
                    </a:lnTo>
                    <a:lnTo>
                      <a:pt x="0" y="75316"/>
                    </a:lnTo>
                    <a:cubicBezTo>
                      <a:pt x="0" y="75316"/>
                      <a:pt x="5684" y="108000"/>
                      <a:pt x="32684" y="135000"/>
                    </a:cubicBezTo>
                    <a:cubicBezTo>
                      <a:pt x="7105" y="187579"/>
                      <a:pt x="2842" y="197527"/>
                      <a:pt x="2842" y="197527"/>
                    </a:cubicBezTo>
                    <a:lnTo>
                      <a:pt x="59684" y="197527"/>
                    </a:lnTo>
                    <a:lnTo>
                      <a:pt x="78158" y="163421"/>
                    </a:lnTo>
                    <a:cubicBezTo>
                      <a:pt x="78158" y="163421"/>
                      <a:pt x="78158" y="163421"/>
                      <a:pt x="78158" y="163421"/>
                    </a:cubicBezTo>
                    <a:cubicBezTo>
                      <a:pt x="106579" y="173369"/>
                      <a:pt x="133579" y="173369"/>
                      <a:pt x="133579" y="173369"/>
                    </a:cubicBezTo>
                    <a:lnTo>
                      <a:pt x="133579" y="123632"/>
                    </a:lnTo>
                    <a:cubicBezTo>
                      <a:pt x="133579" y="123632"/>
                      <a:pt x="120789" y="123632"/>
                      <a:pt x="102316" y="117948"/>
                    </a:cubicBezTo>
                    <a:lnTo>
                      <a:pt x="130737" y="66790"/>
                    </a:lnTo>
                    <a:lnTo>
                      <a:pt x="204632" y="197527"/>
                    </a:lnTo>
                    <a:lnTo>
                      <a:pt x="261474" y="197527"/>
                    </a:lnTo>
                    <a:cubicBezTo>
                      <a:pt x="261474" y="197527"/>
                      <a:pt x="254368" y="180474"/>
                      <a:pt x="217421" y="105158"/>
                    </a:cubicBezTo>
                    <a:cubicBezTo>
                      <a:pt x="184737" y="35526"/>
                      <a:pt x="176211" y="22737"/>
                      <a:pt x="176211" y="22737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CD2B355B-A69B-4385-9164-C01A9C7BD298}"/>
                  </a:ext>
                </a:extLst>
              </p:cNvPr>
              <p:cNvSpPr/>
              <p:nvPr/>
            </p:nvSpPr>
            <p:spPr>
              <a:xfrm>
                <a:off x="11636494" y="6485648"/>
                <a:ext cx="191863" cy="187826"/>
              </a:xfrm>
              <a:custGeom>
                <a:avLst/>
                <a:gdLst>
                  <a:gd name="connsiteX0" fmla="*/ 95211 w 191863"/>
                  <a:gd name="connsiteY0" fmla="*/ 69860 h 187826"/>
                  <a:gd name="connsiteX1" fmla="*/ 66789 w 191863"/>
                  <a:gd name="connsiteY1" fmla="*/ 55649 h 187826"/>
                  <a:gd name="connsiteX2" fmla="*/ 110842 w 191863"/>
                  <a:gd name="connsiteY2" fmla="*/ 40018 h 187826"/>
                  <a:gd name="connsiteX3" fmla="*/ 180474 w 191863"/>
                  <a:gd name="connsiteY3" fmla="*/ 45702 h 187826"/>
                  <a:gd name="connsiteX4" fmla="*/ 180474 w 191863"/>
                  <a:gd name="connsiteY4" fmla="*/ 4491 h 187826"/>
                  <a:gd name="connsiteX5" fmla="*/ 90947 w 191863"/>
                  <a:gd name="connsiteY5" fmla="*/ 228 h 187826"/>
                  <a:gd name="connsiteX6" fmla="*/ 0 w 191863"/>
                  <a:gd name="connsiteY6" fmla="*/ 59912 h 187826"/>
                  <a:gd name="connsiteX7" fmla="*/ 105158 w 191863"/>
                  <a:gd name="connsiteY7" fmla="*/ 119597 h 187826"/>
                  <a:gd name="connsiteX8" fmla="*/ 129316 w 191863"/>
                  <a:gd name="connsiteY8" fmla="*/ 130965 h 187826"/>
                  <a:gd name="connsiteX9" fmla="*/ 73895 w 191863"/>
                  <a:gd name="connsiteY9" fmla="*/ 146597 h 187826"/>
                  <a:gd name="connsiteX10" fmla="*/ 7105 w 191863"/>
                  <a:gd name="connsiteY10" fmla="*/ 138070 h 187826"/>
                  <a:gd name="connsiteX11" fmla="*/ 7105 w 191863"/>
                  <a:gd name="connsiteY11" fmla="*/ 182123 h 187826"/>
                  <a:gd name="connsiteX12" fmla="*/ 89526 w 191863"/>
                  <a:gd name="connsiteY12" fmla="*/ 187807 h 187826"/>
                  <a:gd name="connsiteX13" fmla="*/ 191842 w 191863"/>
                  <a:gd name="connsiteY13" fmla="*/ 128123 h 187826"/>
                  <a:gd name="connsiteX14" fmla="*/ 95211 w 191863"/>
                  <a:gd name="connsiteY14" fmla="*/ 69860 h 187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1863" h="187826">
                    <a:moveTo>
                      <a:pt x="95211" y="69860"/>
                    </a:moveTo>
                    <a:cubicBezTo>
                      <a:pt x="76737" y="68439"/>
                      <a:pt x="66789" y="64176"/>
                      <a:pt x="66789" y="55649"/>
                    </a:cubicBezTo>
                    <a:cubicBezTo>
                      <a:pt x="66789" y="44281"/>
                      <a:pt x="81000" y="40018"/>
                      <a:pt x="110842" y="40018"/>
                    </a:cubicBezTo>
                    <a:cubicBezTo>
                      <a:pt x="140684" y="40018"/>
                      <a:pt x="180474" y="45702"/>
                      <a:pt x="180474" y="45702"/>
                    </a:cubicBezTo>
                    <a:lnTo>
                      <a:pt x="180474" y="4491"/>
                    </a:lnTo>
                    <a:cubicBezTo>
                      <a:pt x="180474" y="4491"/>
                      <a:pt x="135000" y="-1193"/>
                      <a:pt x="90947" y="228"/>
                    </a:cubicBezTo>
                    <a:cubicBezTo>
                      <a:pt x="75316" y="228"/>
                      <a:pt x="0" y="228"/>
                      <a:pt x="0" y="59912"/>
                    </a:cubicBezTo>
                    <a:cubicBezTo>
                      <a:pt x="0" y="116755"/>
                      <a:pt x="73895" y="118176"/>
                      <a:pt x="105158" y="119597"/>
                    </a:cubicBezTo>
                    <a:cubicBezTo>
                      <a:pt x="116526" y="119597"/>
                      <a:pt x="129316" y="122439"/>
                      <a:pt x="129316" y="130965"/>
                    </a:cubicBezTo>
                    <a:cubicBezTo>
                      <a:pt x="130737" y="143755"/>
                      <a:pt x="108000" y="146597"/>
                      <a:pt x="73895" y="146597"/>
                    </a:cubicBezTo>
                    <a:cubicBezTo>
                      <a:pt x="39789" y="146597"/>
                      <a:pt x="7105" y="138070"/>
                      <a:pt x="7105" y="138070"/>
                    </a:cubicBezTo>
                    <a:lnTo>
                      <a:pt x="7105" y="182123"/>
                    </a:lnTo>
                    <a:cubicBezTo>
                      <a:pt x="7105" y="182123"/>
                      <a:pt x="54000" y="187807"/>
                      <a:pt x="89526" y="187807"/>
                    </a:cubicBezTo>
                    <a:cubicBezTo>
                      <a:pt x="105158" y="187807"/>
                      <a:pt x="193263" y="190649"/>
                      <a:pt x="191842" y="128123"/>
                    </a:cubicBezTo>
                    <a:cubicBezTo>
                      <a:pt x="193263" y="64176"/>
                      <a:pt x="122211" y="71281"/>
                      <a:pt x="95211" y="69860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0221DD12-4B4F-4911-85F2-7657655003F6}"/>
                  </a:ext>
                </a:extLst>
              </p:cNvPr>
              <p:cNvSpPr/>
              <p:nvPr/>
            </p:nvSpPr>
            <p:spPr>
              <a:xfrm>
                <a:off x="11392023" y="6339508"/>
                <a:ext cx="100945" cy="137842"/>
              </a:xfrm>
              <a:custGeom>
                <a:avLst/>
                <a:gdLst>
                  <a:gd name="connsiteX0" fmla="*/ 4314 w 100945"/>
                  <a:gd name="connsiteY0" fmla="*/ 137842 h 137842"/>
                  <a:gd name="connsiteX1" fmla="*/ 100945 w 100945"/>
                  <a:gd name="connsiteY1" fmla="*/ 55421 h 137842"/>
                  <a:gd name="connsiteX2" fmla="*/ 100945 w 100945"/>
                  <a:gd name="connsiteY2" fmla="*/ 0 h 137842"/>
                  <a:gd name="connsiteX3" fmla="*/ 51 w 100945"/>
                  <a:gd name="connsiteY3" fmla="*/ 109421 h 137842"/>
                  <a:gd name="connsiteX4" fmla="*/ 4314 w 100945"/>
                  <a:gd name="connsiteY4" fmla="*/ 137842 h 137842"/>
                  <a:gd name="connsiteX5" fmla="*/ 4314 w 100945"/>
                  <a:gd name="connsiteY5" fmla="*/ 137842 h 137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945" h="137842">
                    <a:moveTo>
                      <a:pt x="4314" y="137842"/>
                    </a:moveTo>
                    <a:cubicBezTo>
                      <a:pt x="11419" y="99474"/>
                      <a:pt x="49787" y="56842"/>
                      <a:pt x="100945" y="55421"/>
                    </a:cubicBezTo>
                    <a:lnTo>
                      <a:pt x="100945" y="0"/>
                    </a:lnTo>
                    <a:cubicBezTo>
                      <a:pt x="27051" y="8526"/>
                      <a:pt x="-1370" y="72474"/>
                      <a:pt x="51" y="109421"/>
                    </a:cubicBezTo>
                    <a:cubicBezTo>
                      <a:pt x="51" y="119369"/>
                      <a:pt x="1472" y="129316"/>
                      <a:pt x="4314" y="137842"/>
                    </a:cubicBezTo>
                    <a:lnTo>
                      <a:pt x="4314" y="137842"/>
                    </a:lnTo>
                    <a:close/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26901368-4EA8-43C6-85D2-8F5806EB67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468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headline</a:t>
            </a:r>
            <a:endParaRPr lang="da-DK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EAF4C72-F900-4059-9C84-2813E8024B7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75971" y="1384694"/>
            <a:ext cx="2661031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42F63370-8532-4D34-9446-E54D6CC8C19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296142" y="1380855"/>
            <a:ext cx="2661031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171A715E-F61B-4612-B801-1A94422B829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67326" y="1380855"/>
            <a:ext cx="2661031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19" name="Picture Placeholder 14">
            <a:extLst>
              <a:ext uri="{FF2B5EF4-FFF2-40B4-BE49-F238E27FC236}">
                <a16:creationId xmlns:a16="http://schemas.microsoft.com/office/drawing/2014/main" id="{EB3AB690-E499-4D45-A7C5-BDF760163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10679" y="1380855"/>
            <a:ext cx="2661031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0DC306A9-D475-4FEB-A51C-B49BDF1675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75970" y="3027892"/>
            <a:ext cx="2661031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21" name="Picture Placeholder 14">
            <a:extLst>
              <a:ext uri="{FF2B5EF4-FFF2-40B4-BE49-F238E27FC236}">
                <a16:creationId xmlns:a16="http://schemas.microsoft.com/office/drawing/2014/main" id="{B6329C3A-A9AF-419A-B247-3089AE0F22C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296142" y="3024053"/>
            <a:ext cx="2661031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F11B47FB-3100-49F0-8967-F6148B9AA7B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67325" y="3024053"/>
            <a:ext cx="2661031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23" name="Picture Placeholder 14">
            <a:extLst>
              <a:ext uri="{FF2B5EF4-FFF2-40B4-BE49-F238E27FC236}">
                <a16:creationId xmlns:a16="http://schemas.microsoft.com/office/drawing/2014/main" id="{E4CD6A19-31A7-4B97-967B-C1BACF39AE0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10678" y="3024053"/>
            <a:ext cx="2661031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24" name="Picture Placeholder 14">
            <a:extLst>
              <a:ext uri="{FF2B5EF4-FFF2-40B4-BE49-F238E27FC236}">
                <a16:creationId xmlns:a16="http://schemas.microsoft.com/office/drawing/2014/main" id="{FBF60AD9-F665-408B-A07D-3DA9848947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75970" y="4698177"/>
            <a:ext cx="2661031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DEA30BE2-219A-43AF-BF54-8195F9E3A87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296141" y="4694338"/>
            <a:ext cx="2661031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85B17022-B96A-4BA4-B52D-1737627682A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167323" y="4694338"/>
            <a:ext cx="2661031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3D74F5FE-7F34-46A1-8FEF-A8ADA2AC5B7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210676" y="4694338"/>
            <a:ext cx="2661031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60C2AD8-F799-44A4-8DDA-EDF7465EE8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A95FF69-6A60-439D-B9B5-3E9C04C4D869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1286933" cy="0"/>
          </a:xfrm>
          <a:prstGeom prst="line">
            <a:avLst/>
          </a:prstGeom>
          <a:ln w="254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3D9FB5DB-A766-439B-842F-FCC20688A38A}"/>
              </a:ext>
            </a:extLst>
          </p:cNvPr>
          <p:cNvCxnSpPr>
            <a:cxnSpLocks/>
          </p:cNvCxnSpPr>
          <p:nvPr/>
        </p:nvCxnSpPr>
        <p:spPr>
          <a:xfrm>
            <a:off x="11832600" y="6264000"/>
            <a:ext cx="359400" cy="0"/>
          </a:xfrm>
          <a:prstGeom prst="line">
            <a:avLst/>
          </a:prstGeom>
          <a:ln w="762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79666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2" orient="horz" pos="1111" userDrawn="1">
          <p15:clr>
            <a:srgbClr val="A4A3A4"/>
          </p15:clr>
        </p15:guide>
        <p15:guide id="13" orient="horz" pos="2018" userDrawn="1">
          <p15:clr>
            <a:srgbClr val="A4A3A4"/>
          </p15:clr>
        </p15:guide>
        <p15:guide id="14" orient="horz" pos="2925" userDrawn="1">
          <p15:clr>
            <a:srgbClr val="A4A3A4"/>
          </p15:clr>
        </p15:guide>
        <p15:guide id="15" pos="439" userDrawn="1">
          <p15:clr>
            <a:srgbClr val="A4A3A4"/>
          </p15:clr>
        </p15:guide>
        <p15:guide id="16" pos="1952" userDrawn="1">
          <p15:clr>
            <a:srgbClr val="A4A3A4"/>
          </p15:clr>
        </p15:guide>
        <p15:guide id="17" pos="2181" userDrawn="1">
          <p15:clr>
            <a:srgbClr val="A4A3A4"/>
          </p15:clr>
        </p15:guide>
        <p15:guide id="18" pos="3694" userDrawn="1">
          <p15:clr>
            <a:srgbClr val="A4A3A4"/>
          </p15:clr>
        </p15:guide>
        <p15:guide id="19" pos="3923" userDrawn="1">
          <p15:clr>
            <a:srgbClr val="A4A3A4"/>
          </p15:clr>
        </p15:guide>
        <p15:guide id="20" pos="5435" userDrawn="1">
          <p15:clr>
            <a:srgbClr val="A4A3A4"/>
          </p15:clr>
        </p15:guide>
        <p15:guide id="21" pos="5664" userDrawn="1">
          <p15:clr>
            <a:srgbClr val="A4A3A4"/>
          </p15:clr>
        </p15:guide>
        <p15:guide id="22" pos="7179" userDrawn="1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horisont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3200" cy="4261448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da-DK" err="1"/>
              <a:t>Click</a:t>
            </a:r>
            <a:r>
              <a:rPr lang="da-DK"/>
              <a:t> and </a:t>
            </a:r>
            <a:r>
              <a:rPr lang="da-DK" err="1"/>
              <a:t>insert</a:t>
            </a:r>
            <a:r>
              <a:rPr lang="da-DK"/>
              <a:t> imag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511AF70C-4FFB-4814-BA67-BEF4AB12EAC9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da-DK" sz="800" smtClean="0">
                <a:solidFill>
                  <a:schemeClr val="bg1"/>
                </a:solidFill>
              </a:rPr>
              <a:pPr/>
              <a:t>‹#›</a:t>
            </a:fld>
            <a:endParaRPr lang="da-DK" sz="800">
              <a:solidFill>
                <a:schemeClr val="bg1"/>
              </a:solidFill>
            </a:endParaRPr>
          </a:p>
        </p:txBody>
      </p:sp>
      <p:sp>
        <p:nvSpPr>
          <p:cNvPr id="5" name="Pladsholder til diasnummer 4" hidden="1"/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5FEA3CA-05C1-473E-929F-93A72C953A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8800" y="4485737"/>
            <a:ext cx="5540550" cy="1673763"/>
          </a:xfrm>
        </p:spPr>
        <p:txBody>
          <a:bodyPr lIns="72000" tIns="36000" rIns="72000" bIns="3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err="1"/>
              <a:t>Click</a:t>
            </a:r>
            <a:r>
              <a:rPr lang="da-DK" noProof="0"/>
              <a:t> to </a:t>
            </a:r>
            <a:r>
              <a:rPr lang="da-DK" noProof="0" err="1"/>
              <a:t>edit</a:t>
            </a:r>
            <a:r>
              <a:rPr lang="da-DK" noProof="0"/>
              <a:t> </a:t>
            </a:r>
            <a:r>
              <a:rPr lang="da-DK" noProof="0" err="1"/>
              <a:t>text</a:t>
            </a:r>
            <a:endParaRPr lang="da-DK" noProof="0"/>
          </a:p>
          <a:p>
            <a:pPr lvl="1"/>
            <a:r>
              <a:rPr lang="da-DK" noProof="0"/>
              <a:t>Second </a:t>
            </a:r>
            <a:r>
              <a:rPr lang="da-DK" noProof="0" err="1"/>
              <a:t>level</a:t>
            </a:r>
            <a:endParaRPr lang="da-DK" noProof="0"/>
          </a:p>
          <a:p>
            <a:pPr lvl="2"/>
            <a:r>
              <a:rPr lang="da-DK" noProof="0"/>
              <a:t>Third </a:t>
            </a:r>
            <a:r>
              <a:rPr lang="da-DK" noProof="0" err="1"/>
              <a:t>level</a:t>
            </a:r>
            <a:endParaRPr lang="da-DK" noProof="0"/>
          </a:p>
          <a:p>
            <a:pPr lvl="3"/>
            <a:r>
              <a:rPr lang="da-DK" noProof="0" err="1"/>
              <a:t>Fourth</a:t>
            </a:r>
            <a:r>
              <a:rPr lang="da-DK" noProof="0"/>
              <a:t> </a:t>
            </a:r>
            <a:r>
              <a:rPr lang="da-DK" noProof="0" err="1"/>
              <a:t>level</a:t>
            </a:r>
            <a:endParaRPr lang="da-DK" noProof="0"/>
          </a:p>
          <a:p>
            <a:pPr lvl="4"/>
            <a:r>
              <a:rPr lang="da-DK" noProof="0"/>
              <a:t>Fifth </a:t>
            </a:r>
            <a:r>
              <a:rPr lang="da-DK" noProof="0" err="1"/>
              <a:t>level</a:t>
            </a:r>
            <a:endParaRPr lang="da-DK" noProof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221EF28-4459-40E0-85E3-97CFD712297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92800" y="4485737"/>
            <a:ext cx="5540400" cy="1673763"/>
          </a:xfrm>
        </p:spPr>
        <p:txBody>
          <a:bodyPr lIns="72000" tIns="36000" rIns="72000" bIns="3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err="1"/>
              <a:t>Click</a:t>
            </a:r>
            <a:r>
              <a:rPr lang="da-DK" noProof="0"/>
              <a:t> to </a:t>
            </a:r>
            <a:r>
              <a:rPr lang="da-DK" noProof="0" err="1"/>
              <a:t>edit</a:t>
            </a:r>
            <a:r>
              <a:rPr lang="da-DK" noProof="0"/>
              <a:t> </a:t>
            </a:r>
            <a:r>
              <a:rPr lang="da-DK" noProof="0" err="1"/>
              <a:t>text</a:t>
            </a:r>
            <a:endParaRPr lang="da-DK" noProof="0"/>
          </a:p>
          <a:p>
            <a:pPr lvl="1"/>
            <a:r>
              <a:rPr lang="da-DK" noProof="0"/>
              <a:t>Second </a:t>
            </a:r>
            <a:r>
              <a:rPr lang="da-DK" noProof="0" err="1"/>
              <a:t>level</a:t>
            </a:r>
            <a:endParaRPr lang="da-DK" noProof="0"/>
          </a:p>
          <a:p>
            <a:pPr lvl="2"/>
            <a:r>
              <a:rPr lang="da-DK" noProof="0"/>
              <a:t>Third </a:t>
            </a:r>
            <a:r>
              <a:rPr lang="da-DK" noProof="0" err="1"/>
              <a:t>level</a:t>
            </a:r>
            <a:endParaRPr lang="da-DK" noProof="0"/>
          </a:p>
          <a:p>
            <a:pPr lvl="3"/>
            <a:r>
              <a:rPr lang="da-DK" noProof="0" err="1"/>
              <a:t>Fourth</a:t>
            </a:r>
            <a:r>
              <a:rPr lang="da-DK" noProof="0"/>
              <a:t> </a:t>
            </a:r>
            <a:r>
              <a:rPr lang="da-DK" noProof="0" err="1"/>
              <a:t>level</a:t>
            </a:r>
            <a:endParaRPr lang="da-DK" noProof="0"/>
          </a:p>
          <a:p>
            <a:pPr lvl="4"/>
            <a:r>
              <a:rPr lang="da-DK" noProof="0"/>
              <a:t>Fifth </a:t>
            </a:r>
            <a:r>
              <a:rPr lang="da-DK" noProof="0" err="1"/>
              <a:t>level</a:t>
            </a:r>
            <a:endParaRPr lang="da-DK" noProof="0"/>
          </a:p>
        </p:txBody>
      </p:sp>
      <p:sp>
        <p:nvSpPr>
          <p:cNvPr id="12" name="Logo on top">
            <a:extLst>
              <a:ext uri="{FF2B5EF4-FFF2-40B4-BE49-F238E27FC236}">
                <a16:creationId xmlns:a16="http://schemas.microsoft.com/office/drawing/2014/main" id="{ED139986-BD4D-4AE1-9CFF-9924F836F616}"/>
              </a:ext>
            </a:extLst>
          </p:cNvPr>
          <p:cNvSpPr>
            <a:spLocks noGrp="1" noChangeAspect="1"/>
          </p:cNvSpPr>
          <p:nvPr>
            <p:ph type="body" sz="quarter" idx="23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/>
              <a:t>.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6024F10-F64E-4501-B430-2F4ABC560D31}"/>
              </a:ext>
            </a:extLst>
          </p:cNvPr>
          <p:cNvGrpSpPr/>
          <p:nvPr/>
        </p:nvGrpSpPr>
        <p:grpSpPr>
          <a:xfrm>
            <a:off x="0" y="360000"/>
            <a:ext cx="12192000" cy="3601066"/>
            <a:chOff x="0" y="360000"/>
            <a:chExt cx="12192000" cy="3601066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C2DD0AD-0EE5-4CC1-A427-38FD9811E55B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60000"/>
              <a:ext cx="1286933" cy="0"/>
            </a:xfrm>
            <a:prstGeom prst="line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07187FD5-0FDF-479B-AFBB-F38708B7E71F}"/>
                </a:ext>
              </a:extLst>
            </p:cNvPr>
            <p:cNvCxnSpPr>
              <a:cxnSpLocks/>
            </p:cNvCxnSpPr>
            <p:nvPr/>
          </p:nvCxnSpPr>
          <p:spPr>
            <a:xfrm>
              <a:off x="11325013" y="3961066"/>
              <a:ext cx="866987" cy="0"/>
            </a:xfrm>
            <a:prstGeom prst="line">
              <a:avLst/>
            </a:prstGeom>
            <a:ln w="762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4905432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825">
          <p15:clr>
            <a:srgbClr val="A4A3A4"/>
          </p15:clr>
        </p15:guide>
        <p15:guide id="2" pos="3716">
          <p15:clr>
            <a:srgbClr val="A4A3A4"/>
          </p15:clr>
        </p15:guide>
        <p15:guide id="3" pos="3963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&amp; titl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D8C2F4C-FD8E-4BC1-8470-ED613BBC34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3200" cy="6857999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da-DK" err="1"/>
              <a:t>Click</a:t>
            </a:r>
            <a:r>
              <a:rPr lang="da-DK"/>
              <a:t> and </a:t>
            </a:r>
            <a:r>
              <a:rPr lang="da-DK" err="1"/>
              <a:t>insert</a:t>
            </a:r>
            <a:r>
              <a:rPr lang="da-DK"/>
              <a:t>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263996-270B-49F6-AC9C-5FC3D40EF8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765041"/>
            <a:ext cx="10333037" cy="914151"/>
          </a:xfrm>
          <a:prstGeom prst="rect">
            <a:avLst/>
          </a:prstGeom>
        </p:spPr>
        <p:txBody>
          <a:bodyPr lIns="72000" tIns="36000" rIns="72000" bIns="36000" anchor="t"/>
          <a:lstStyle>
            <a:lvl1pPr algn="l">
              <a:defRPr sz="6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headline</a:t>
            </a:r>
            <a:endParaRPr lang="da-DK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9446C3-1B3E-43F7-897B-450B7777A2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2871743"/>
            <a:ext cx="5572062" cy="1655762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l">
              <a:buNone/>
              <a:defRPr sz="200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18" name="Logo on top">
            <a:extLst>
              <a:ext uri="{FF2B5EF4-FFF2-40B4-BE49-F238E27FC236}">
                <a16:creationId xmlns:a16="http://schemas.microsoft.com/office/drawing/2014/main" id="{655DB364-E850-4C04-AB58-1D6949A7761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280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595959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19" name="White line">
            <a:extLst>
              <a:ext uri="{FF2B5EF4-FFF2-40B4-BE49-F238E27FC236}">
                <a16:creationId xmlns:a16="http://schemas.microsoft.com/office/drawing/2014/main" id="{D4B4C4D5-C379-4BE9-A1DE-B763BE10C4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653150" y="1470467"/>
            <a:ext cx="90000" cy="25200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9D09BE9-A839-4C19-A8EE-AF2BFDC590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20" name="White line">
            <a:extLst>
              <a:ext uri="{FF2B5EF4-FFF2-40B4-BE49-F238E27FC236}">
                <a16:creationId xmlns:a16="http://schemas.microsoft.com/office/drawing/2014/main" id="{B3EFD42D-2BB3-4D67-8B48-795DDC62CD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91173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uiExpand="1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 build="p" animBg="1">
        <p:tmplLst>
          <p:tmpl>
            <p:tnLst>
              <p:par>
                <p:cTn presetID="2" presetClass="entr" presetSubtype="2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&amp; titl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D8C2F4C-FD8E-4BC1-8470-ED613BBC34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57999"/>
          </a:xfrm>
          <a:prstGeom prst="rect">
            <a:avLst/>
          </a:prstGeom>
          <a:solidFill>
            <a:schemeClr val="accent6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and </a:t>
            </a:r>
            <a:r>
              <a:rPr lang="da-DK" err="1"/>
              <a:t>insert</a:t>
            </a:r>
            <a:r>
              <a:rPr lang="da-DK"/>
              <a:t>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263996-270B-49F6-AC9C-5FC3D40EF8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765041"/>
            <a:ext cx="10333037" cy="914151"/>
          </a:xfrm>
          <a:prstGeom prst="rect">
            <a:avLst/>
          </a:prstGeom>
        </p:spPr>
        <p:txBody>
          <a:bodyPr lIns="72000" tIns="36000" rIns="72000" bIns="36000" anchor="t"/>
          <a:lstStyle>
            <a:lvl1pPr algn="l">
              <a:defRPr sz="60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headline</a:t>
            </a:r>
            <a:endParaRPr lang="da-DK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9446C3-1B3E-43F7-897B-450B7777A2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2871743"/>
            <a:ext cx="5572062" cy="1655762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12" name="Logo on top">
            <a:extLst>
              <a:ext uri="{FF2B5EF4-FFF2-40B4-BE49-F238E27FC236}">
                <a16:creationId xmlns:a16="http://schemas.microsoft.com/office/drawing/2014/main" id="{65075359-2A7A-450A-9B61-C30CE49C3225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2353EBE-706E-4F26-8C7D-B11CBD9D83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13" name="White line">
            <a:extLst>
              <a:ext uri="{FF2B5EF4-FFF2-40B4-BE49-F238E27FC236}">
                <a16:creationId xmlns:a16="http://schemas.microsoft.com/office/drawing/2014/main" id="{E7F5857D-0FDD-45D1-82CD-38267A369C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653150" y="1470467"/>
            <a:ext cx="90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14" name="White line">
            <a:extLst>
              <a:ext uri="{FF2B5EF4-FFF2-40B4-BE49-F238E27FC236}">
                <a16:creationId xmlns:a16="http://schemas.microsoft.com/office/drawing/2014/main" id="{997F5A3A-28F7-4471-A56F-D9FCEC091D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181300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uiExpand="1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 animBg="1">
        <p:tmplLst>
          <p:tmpl>
            <p:tnLst>
              <p:par>
                <p:cTn presetID="2" presetClass="entr" presetSubtype="2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err="1"/>
              <a:t>Click</a:t>
            </a:r>
            <a:r>
              <a:rPr lang="da-DK"/>
              <a:t> and </a:t>
            </a:r>
            <a:r>
              <a:rPr lang="da-DK" err="1"/>
              <a:t>insert</a:t>
            </a:r>
            <a:r>
              <a:rPr lang="da-DK"/>
              <a:t> image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a-DK"/>
              <a:t>Dokument id her</a:t>
            </a:r>
          </a:p>
        </p:txBody>
      </p:sp>
      <p:sp>
        <p:nvSpPr>
          <p:cNvPr id="20" name="Logo on top">
            <a:extLst>
              <a:ext uri="{FF2B5EF4-FFF2-40B4-BE49-F238E27FC236}">
                <a16:creationId xmlns:a16="http://schemas.microsoft.com/office/drawing/2014/main" id="{E62EE4E3-C4C4-4FC3-A816-7A23933DD733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D6E7766-B064-47AD-88DF-F66F05D38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74B0496-0B0B-4655-8059-FD85131AC819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da-DK" sz="800" smtClean="0">
                <a:solidFill>
                  <a:schemeClr val="bg1"/>
                </a:solidFill>
              </a:rPr>
              <a:pPr/>
              <a:t>‹#›</a:t>
            </a:fld>
            <a:endParaRPr lang="da-DK" sz="800">
              <a:solidFill>
                <a:schemeClr val="bg1"/>
              </a:solidFill>
            </a:endParaRPr>
          </a:p>
        </p:txBody>
      </p:sp>
      <p:sp>
        <p:nvSpPr>
          <p:cNvPr id="10" name="White line">
            <a:extLst>
              <a:ext uri="{FF2B5EF4-FFF2-40B4-BE49-F238E27FC236}">
                <a16:creationId xmlns:a16="http://schemas.microsoft.com/office/drawing/2014/main" id="{D6A6B417-56F3-49C3-8F1D-2CACD60328B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13" name="White line">
            <a:extLst>
              <a:ext uri="{FF2B5EF4-FFF2-40B4-BE49-F238E27FC236}">
                <a16:creationId xmlns:a16="http://schemas.microsoft.com/office/drawing/2014/main" id="{7C743133-504A-42AF-A4A5-C0F5EEB663C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rot="5400000">
            <a:off x="1215000" y="4968000"/>
            <a:ext cx="90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742700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 animBg="1">
        <p:tmplLst>
          <p:tmpl>
            <p:tnLst>
              <p:par>
                <p:cTn presetID="2" presetClass="entr" presetSubtype="2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" grpId="0" build="p" animBg="1">
        <p:tmplLst>
          <p:tmpl>
            <p:tnLst>
              <p:par>
                <p:cTn presetID="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err="1"/>
              <a:t>Click</a:t>
            </a:r>
            <a:r>
              <a:rPr lang="da-DK"/>
              <a:t> and </a:t>
            </a:r>
            <a:r>
              <a:rPr lang="da-DK" err="1"/>
              <a:t>insert</a:t>
            </a:r>
            <a:r>
              <a:rPr lang="da-DK"/>
              <a:t> image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a-DK"/>
              <a:t>Dokument id her</a:t>
            </a:r>
          </a:p>
        </p:txBody>
      </p:sp>
      <p:sp>
        <p:nvSpPr>
          <p:cNvPr id="20" name="Logo on top">
            <a:extLst>
              <a:ext uri="{FF2B5EF4-FFF2-40B4-BE49-F238E27FC236}">
                <a16:creationId xmlns:a16="http://schemas.microsoft.com/office/drawing/2014/main" id="{3FD39135-7880-41E4-B06B-A8C7F1FC8675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280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595959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273A3B-39E6-4A70-B196-DD3516FD0C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9" name="White line">
            <a:extLst>
              <a:ext uri="{FF2B5EF4-FFF2-40B4-BE49-F238E27FC236}">
                <a16:creationId xmlns:a16="http://schemas.microsoft.com/office/drawing/2014/main" id="{8D0BE816-C95B-4B69-874C-DC33C2E427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11" name="White line">
            <a:extLst>
              <a:ext uri="{FF2B5EF4-FFF2-40B4-BE49-F238E27FC236}">
                <a16:creationId xmlns:a16="http://schemas.microsoft.com/office/drawing/2014/main" id="{1A47F140-9F3E-4800-95A2-7029E881A14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rot="5400000">
            <a:off x="1215000" y="4968000"/>
            <a:ext cx="90000" cy="2520000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360502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uiExpand="1" build="p" animBg="1">
        <p:tmplLst>
          <p:tmpl>
            <p:tnLst>
              <p:par>
                <p:cTn presetID="2" presetClass="entr" presetSubtype="2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" grpId="0" uiExpand="1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aphic 4">
            <a:extLst>
              <a:ext uri="{FF2B5EF4-FFF2-40B4-BE49-F238E27FC236}">
                <a16:creationId xmlns:a16="http://schemas.microsoft.com/office/drawing/2014/main" id="{A2D4C4CC-2C2B-4E4A-BABE-191099A7DF52}"/>
              </a:ext>
            </a:extLst>
          </p:cNvPr>
          <p:cNvGrpSpPr/>
          <p:nvPr/>
        </p:nvGrpSpPr>
        <p:grpSpPr>
          <a:xfrm>
            <a:off x="10752600" y="6339508"/>
            <a:ext cx="1075757" cy="333967"/>
            <a:chOff x="10752600" y="6339508"/>
            <a:chExt cx="1075757" cy="333967"/>
          </a:xfrm>
          <a:solidFill>
            <a:srgbClr val="B70D18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1D26526-0348-41C0-8F96-4FFE4213BD27}"/>
                </a:ext>
              </a:extLst>
            </p:cNvPr>
            <p:cNvSpPr/>
            <p:nvPr/>
          </p:nvSpPr>
          <p:spPr>
            <a:xfrm>
              <a:off x="10752600" y="6494402"/>
              <a:ext cx="217421" cy="174789"/>
            </a:xfrm>
            <a:custGeom>
              <a:avLst/>
              <a:gdLst>
                <a:gd name="connsiteX0" fmla="*/ 0 w 217421"/>
                <a:gd name="connsiteY0" fmla="*/ 0 h 174789"/>
                <a:gd name="connsiteX1" fmla="*/ 0 w 217421"/>
                <a:gd name="connsiteY1" fmla="*/ 174790 h 174789"/>
                <a:gd name="connsiteX2" fmla="*/ 52579 w 217421"/>
                <a:gd name="connsiteY2" fmla="*/ 174790 h 174789"/>
                <a:gd name="connsiteX3" fmla="*/ 59684 w 217421"/>
                <a:gd name="connsiteY3" fmla="*/ 69632 h 174789"/>
                <a:gd name="connsiteX4" fmla="*/ 164842 w 217421"/>
                <a:gd name="connsiteY4" fmla="*/ 174790 h 174789"/>
                <a:gd name="connsiteX5" fmla="*/ 217421 w 217421"/>
                <a:gd name="connsiteY5" fmla="*/ 174790 h 174789"/>
                <a:gd name="connsiteX6" fmla="*/ 217421 w 217421"/>
                <a:gd name="connsiteY6" fmla="*/ 0 h 174789"/>
                <a:gd name="connsiteX7" fmla="*/ 162000 w 217421"/>
                <a:gd name="connsiteY7" fmla="*/ 0 h 174789"/>
                <a:gd name="connsiteX8" fmla="*/ 156316 w 217421"/>
                <a:gd name="connsiteY8" fmla="*/ 92369 h 174789"/>
                <a:gd name="connsiteX9" fmla="*/ 66789 w 217421"/>
                <a:gd name="connsiteY9" fmla="*/ 0 h 174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421" h="174789">
                  <a:moveTo>
                    <a:pt x="0" y="0"/>
                  </a:moveTo>
                  <a:lnTo>
                    <a:pt x="0" y="174790"/>
                  </a:lnTo>
                  <a:lnTo>
                    <a:pt x="52579" y="174790"/>
                  </a:lnTo>
                  <a:lnTo>
                    <a:pt x="59684" y="69632"/>
                  </a:lnTo>
                  <a:lnTo>
                    <a:pt x="164842" y="174790"/>
                  </a:lnTo>
                  <a:lnTo>
                    <a:pt x="217421" y="174790"/>
                  </a:lnTo>
                  <a:lnTo>
                    <a:pt x="217421" y="0"/>
                  </a:lnTo>
                  <a:lnTo>
                    <a:pt x="162000" y="0"/>
                  </a:lnTo>
                  <a:lnTo>
                    <a:pt x="156316" y="92369"/>
                  </a:lnTo>
                  <a:lnTo>
                    <a:pt x="66789" y="0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806EF12-398C-4FA4-9EBB-F4BA09658974}"/>
                </a:ext>
              </a:extLst>
            </p:cNvPr>
            <p:cNvSpPr/>
            <p:nvPr/>
          </p:nvSpPr>
          <p:spPr>
            <a:xfrm>
              <a:off x="11021178" y="6494402"/>
              <a:ext cx="58263" cy="176210"/>
            </a:xfrm>
            <a:custGeom>
              <a:avLst/>
              <a:gdLst>
                <a:gd name="connsiteX0" fmla="*/ 0 w 58263"/>
                <a:gd name="connsiteY0" fmla="*/ 0 h 176210"/>
                <a:gd name="connsiteX1" fmla="*/ 58263 w 58263"/>
                <a:gd name="connsiteY1" fmla="*/ 0 h 176210"/>
                <a:gd name="connsiteX2" fmla="*/ 58263 w 58263"/>
                <a:gd name="connsiteY2" fmla="*/ 176211 h 176210"/>
                <a:gd name="connsiteX3" fmla="*/ 0 w 58263"/>
                <a:gd name="connsiteY3" fmla="*/ 176211 h 176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263" h="176210">
                  <a:moveTo>
                    <a:pt x="0" y="0"/>
                  </a:moveTo>
                  <a:lnTo>
                    <a:pt x="58263" y="0"/>
                  </a:lnTo>
                  <a:lnTo>
                    <a:pt x="58263" y="176211"/>
                  </a:lnTo>
                  <a:lnTo>
                    <a:pt x="0" y="176211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grpSp>
          <p:nvGrpSpPr>
            <p:cNvPr id="9" name="Graphic 4">
              <a:extLst>
                <a:ext uri="{FF2B5EF4-FFF2-40B4-BE49-F238E27FC236}">
                  <a16:creationId xmlns:a16="http://schemas.microsoft.com/office/drawing/2014/main" id="{A2D4C4CC-2C2B-4E4A-BABE-191099A7DF52}"/>
                </a:ext>
              </a:extLst>
            </p:cNvPr>
            <p:cNvGrpSpPr/>
            <p:nvPr/>
          </p:nvGrpSpPr>
          <p:grpSpPr>
            <a:xfrm>
              <a:off x="11130600" y="6339508"/>
              <a:ext cx="697757" cy="333967"/>
              <a:chOff x="11130600" y="6339508"/>
              <a:chExt cx="697757" cy="333967"/>
            </a:xfrm>
            <a:solidFill>
              <a:srgbClr val="B70D18"/>
            </a:solidFill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78693BFF-818B-4A5E-928F-B07A728B5490}"/>
                  </a:ext>
                </a:extLst>
              </p:cNvPr>
              <p:cNvSpPr/>
              <p:nvPr/>
            </p:nvSpPr>
            <p:spPr>
              <a:xfrm>
                <a:off x="11130600" y="6490139"/>
                <a:ext cx="200489" cy="180473"/>
              </a:xfrm>
              <a:custGeom>
                <a:avLst/>
                <a:gdLst>
                  <a:gd name="connsiteX0" fmla="*/ 200368 w 200489"/>
                  <a:gd name="connsiteY0" fmla="*/ 55421 h 180473"/>
                  <a:gd name="connsiteX1" fmla="*/ 108000 w 200489"/>
                  <a:gd name="connsiteY1" fmla="*/ 0 h 180473"/>
                  <a:gd name="connsiteX2" fmla="*/ 0 w 200489"/>
                  <a:gd name="connsiteY2" fmla="*/ 2842 h 180473"/>
                  <a:gd name="connsiteX3" fmla="*/ 0 w 200489"/>
                  <a:gd name="connsiteY3" fmla="*/ 179053 h 180473"/>
                  <a:gd name="connsiteX4" fmla="*/ 52579 w 200489"/>
                  <a:gd name="connsiteY4" fmla="*/ 179053 h 180473"/>
                  <a:gd name="connsiteX5" fmla="*/ 61105 w 200489"/>
                  <a:gd name="connsiteY5" fmla="*/ 38368 h 180473"/>
                  <a:gd name="connsiteX6" fmla="*/ 96632 w 200489"/>
                  <a:gd name="connsiteY6" fmla="*/ 36947 h 180473"/>
                  <a:gd name="connsiteX7" fmla="*/ 136421 w 200489"/>
                  <a:gd name="connsiteY7" fmla="*/ 59684 h 180473"/>
                  <a:gd name="connsiteX8" fmla="*/ 81000 w 200489"/>
                  <a:gd name="connsiteY8" fmla="*/ 90947 h 180473"/>
                  <a:gd name="connsiteX9" fmla="*/ 81000 w 200489"/>
                  <a:gd name="connsiteY9" fmla="*/ 119369 h 180473"/>
                  <a:gd name="connsiteX10" fmla="*/ 137842 w 200489"/>
                  <a:gd name="connsiteY10" fmla="*/ 180474 h 180473"/>
                  <a:gd name="connsiteX11" fmla="*/ 198947 w 200489"/>
                  <a:gd name="connsiteY11" fmla="*/ 180474 h 180473"/>
                  <a:gd name="connsiteX12" fmla="*/ 153474 w 200489"/>
                  <a:gd name="connsiteY12" fmla="*/ 116526 h 180473"/>
                  <a:gd name="connsiteX13" fmla="*/ 200368 w 200489"/>
                  <a:gd name="connsiteY13" fmla="*/ 55421 h 18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00489" h="180473">
                    <a:moveTo>
                      <a:pt x="200368" y="55421"/>
                    </a:moveTo>
                    <a:cubicBezTo>
                      <a:pt x="197526" y="9947"/>
                      <a:pt x="147789" y="1421"/>
                      <a:pt x="108000" y="0"/>
                    </a:cubicBezTo>
                    <a:cubicBezTo>
                      <a:pt x="75316" y="0"/>
                      <a:pt x="0" y="2842"/>
                      <a:pt x="0" y="2842"/>
                    </a:cubicBezTo>
                    <a:lnTo>
                      <a:pt x="0" y="179053"/>
                    </a:lnTo>
                    <a:lnTo>
                      <a:pt x="52579" y="179053"/>
                    </a:lnTo>
                    <a:lnTo>
                      <a:pt x="61105" y="38368"/>
                    </a:lnTo>
                    <a:cubicBezTo>
                      <a:pt x="61105" y="38368"/>
                      <a:pt x="82421" y="36947"/>
                      <a:pt x="96632" y="36947"/>
                    </a:cubicBezTo>
                    <a:cubicBezTo>
                      <a:pt x="119368" y="36947"/>
                      <a:pt x="135000" y="45474"/>
                      <a:pt x="136421" y="59684"/>
                    </a:cubicBezTo>
                    <a:cubicBezTo>
                      <a:pt x="137842" y="73895"/>
                      <a:pt x="132158" y="90947"/>
                      <a:pt x="81000" y="90947"/>
                    </a:cubicBezTo>
                    <a:lnTo>
                      <a:pt x="81000" y="119369"/>
                    </a:lnTo>
                    <a:lnTo>
                      <a:pt x="137842" y="180474"/>
                    </a:lnTo>
                    <a:lnTo>
                      <a:pt x="198947" y="180474"/>
                    </a:lnTo>
                    <a:lnTo>
                      <a:pt x="153474" y="116526"/>
                    </a:lnTo>
                    <a:cubicBezTo>
                      <a:pt x="154895" y="115105"/>
                      <a:pt x="203211" y="102316"/>
                      <a:pt x="200368" y="55421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B46F5E6-A5F0-4105-B4BA-6AEC5163ACC5}"/>
                  </a:ext>
                </a:extLst>
              </p:cNvPr>
              <p:cNvSpPr/>
              <p:nvPr/>
            </p:nvSpPr>
            <p:spPr>
              <a:xfrm>
                <a:off x="11357968" y="6471666"/>
                <a:ext cx="261473" cy="197526"/>
              </a:xfrm>
              <a:custGeom>
                <a:avLst/>
                <a:gdLst>
                  <a:gd name="connsiteX0" fmla="*/ 176211 w 261473"/>
                  <a:gd name="connsiteY0" fmla="*/ 22737 h 197526"/>
                  <a:gd name="connsiteX1" fmla="*/ 89526 w 261473"/>
                  <a:gd name="connsiteY1" fmla="*/ 22737 h 197526"/>
                  <a:gd name="connsiteX2" fmla="*/ 52579 w 261473"/>
                  <a:gd name="connsiteY2" fmla="*/ 92369 h 197526"/>
                  <a:gd name="connsiteX3" fmla="*/ 1421 w 261473"/>
                  <a:gd name="connsiteY3" fmla="*/ 0 h 197526"/>
                  <a:gd name="connsiteX4" fmla="*/ 0 w 261473"/>
                  <a:gd name="connsiteY4" fmla="*/ 0 h 197526"/>
                  <a:gd name="connsiteX5" fmla="*/ 0 w 261473"/>
                  <a:gd name="connsiteY5" fmla="*/ 75316 h 197526"/>
                  <a:gd name="connsiteX6" fmla="*/ 32684 w 261473"/>
                  <a:gd name="connsiteY6" fmla="*/ 135000 h 197526"/>
                  <a:gd name="connsiteX7" fmla="*/ 2842 w 261473"/>
                  <a:gd name="connsiteY7" fmla="*/ 197527 h 197526"/>
                  <a:gd name="connsiteX8" fmla="*/ 59684 w 261473"/>
                  <a:gd name="connsiteY8" fmla="*/ 197527 h 197526"/>
                  <a:gd name="connsiteX9" fmla="*/ 78158 w 261473"/>
                  <a:gd name="connsiteY9" fmla="*/ 163421 h 197526"/>
                  <a:gd name="connsiteX10" fmla="*/ 78158 w 261473"/>
                  <a:gd name="connsiteY10" fmla="*/ 163421 h 197526"/>
                  <a:gd name="connsiteX11" fmla="*/ 133579 w 261473"/>
                  <a:gd name="connsiteY11" fmla="*/ 173369 h 197526"/>
                  <a:gd name="connsiteX12" fmla="*/ 133579 w 261473"/>
                  <a:gd name="connsiteY12" fmla="*/ 123632 h 197526"/>
                  <a:gd name="connsiteX13" fmla="*/ 102316 w 261473"/>
                  <a:gd name="connsiteY13" fmla="*/ 117948 h 197526"/>
                  <a:gd name="connsiteX14" fmla="*/ 130737 w 261473"/>
                  <a:gd name="connsiteY14" fmla="*/ 66790 h 197526"/>
                  <a:gd name="connsiteX15" fmla="*/ 204632 w 261473"/>
                  <a:gd name="connsiteY15" fmla="*/ 197527 h 197526"/>
                  <a:gd name="connsiteX16" fmla="*/ 261474 w 261473"/>
                  <a:gd name="connsiteY16" fmla="*/ 197527 h 197526"/>
                  <a:gd name="connsiteX17" fmla="*/ 217421 w 261473"/>
                  <a:gd name="connsiteY17" fmla="*/ 105158 h 197526"/>
                  <a:gd name="connsiteX18" fmla="*/ 176211 w 261473"/>
                  <a:gd name="connsiteY18" fmla="*/ 22737 h 197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61473" h="197526">
                    <a:moveTo>
                      <a:pt x="176211" y="22737"/>
                    </a:moveTo>
                    <a:lnTo>
                      <a:pt x="89526" y="22737"/>
                    </a:lnTo>
                    <a:cubicBezTo>
                      <a:pt x="89526" y="22737"/>
                      <a:pt x="81000" y="35526"/>
                      <a:pt x="52579" y="92369"/>
                    </a:cubicBezTo>
                    <a:cubicBezTo>
                      <a:pt x="14211" y="61105"/>
                      <a:pt x="4263" y="19895"/>
                      <a:pt x="1421" y="0"/>
                    </a:cubicBezTo>
                    <a:lnTo>
                      <a:pt x="0" y="0"/>
                    </a:lnTo>
                    <a:lnTo>
                      <a:pt x="0" y="75316"/>
                    </a:lnTo>
                    <a:cubicBezTo>
                      <a:pt x="0" y="75316"/>
                      <a:pt x="5684" y="108000"/>
                      <a:pt x="32684" y="135000"/>
                    </a:cubicBezTo>
                    <a:cubicBezTo>
                      <a:pt x="7105" y="187579"/>
                      <a:pt x="2842" y="197527"/>
                      <a:pt x="2842" y="197527"/>
                    </a:cubicBezTo>
                    <a:lnTo>
                      <a:pt x="59684" y="197527"/>
                    </a:lnTo>
                    <a:lnTo>
                      <a:pt x="78158" y="163421"/>
                    </a:lnTo>
                    <a:cubicBezTo>
                      <a:pt x="78158" y="163421"/>
                      <a:pt x="78158" y="163421"/>
                      <a:pt x="78158" y="163421"/>
                    </a:cubicBezTo>
                    <a:cubicBezTo>
                      <a:pt x="106579" y="173369"/>
                      <a:pt x="133579" y="173369"/>
                      <a:pt x="133579" y="173369"/>
                    </a:cubicBezTo>
                    <a:lnTo>
                      <a:pt x="133579" y="123632"/>
                    </a:lnTo>
                    <a:cubicBezTo>
                      <a:pt x="133579" y="123632"/>
                      <a:pt x="120789" y="123632"/>
                      <a:pt x="102316" y="117948"/>
                    </a:cubicBezTo>
                    <a:lnTo>
                      <a:pt x="130737" y="66790"/>
                    </a:lnTo>
                    <a:lnTo>
                      <a:pt x="204632" y="197527"/>
                    </a:lnTo>
                    <a:lnTo>
                      <a:pt x="261474" y="197527"/>
                    </a:lnTo>
                    <a:cubicBezTo>
                      <a:pt x="261474" y="197527"/>
                      <a:pt x="254368" y="180474"/>
                      <a:pt x="217421" y="105158"/>
                    </a:cubicBezTo>
                    <a:cubicBezTo>
                      <a:pt x="184737" y="35526"/>
                      <a:pt x="176211" y="22737"/>
                      <a:pt x="176211" y="22737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CD2B355B-A69B-4385-9164-C01A9C7BD298}"/>
                  </a:ext>
                </a:extLst>
              </p:cNvPr>
              <p:cNvSpPr/>
              <p:nvPr/>
            </p:nvSpPr>
            <p:spPr>
              <a:xfrm>
                <a:off x="11636494" y="6485648"/>
                <a:ext cx="191863" cy="187826"/>
              </a:xfrm>
              <a:custGeom>
                <a:avLst/>
                <a:gdLst>
                  <a:gd name="connsiteX0" fmla="*/ 95211 w 191863"/>
                  <a:gd name="connsiteY0" fmla="*/ 69860 h 187826"/>
                  <a:gd name="connsiteX1" fmla="*/ 66789 w 191863"/>
                  <a:gd name="connsiteY1" fmla="*/ 55649 h 187826"/>
                  <a:gd name="connsiteX2" fmla="*/ 110842 w 191863"/>
                  <a:gd name="connsiteY2" fmla="*/ 40018 h 187826"/>
                  <a:gd name="connsiteX3" fmla="*/ 180474 w 191863"/>
                  <a:gd name="connsiteY3" fmla="*/ 45702 h 187826"/>
                  <a:gd name="connsiteX4" fmla="*/ 180474 w 191863"/>
                  <a:gd name="connsiteY4" fmla="*/ 4491 h 187826"/>
                  <a:gd name="connsiteX5" fmla="*/ 90947 w 191863"/>
                  <a:gd name="connsiteY5" fmla="*/ 228 h 187826"/>
                  <a:gd name="connsiteX6" fmla="*/ 0 w 191863"/>
                  <a:gd name="connsiteY6" fmla="*/ 59912 h 187826"/>
                  <a:gd name="connsiteX7" fmla="*/ 105158 w 191863"/>
                  <a:gd name="connsiteY7" fmla="*/ 119597 h 187826"/>
                  <a:gd name="connsiteX8" fmla="*/ 129316 w 191863"/>
                  <a:gd name="connsiteY8" fmla="*/ 130965 h 187826"/>
                  <a:gd name="connsiteX9" fmla="*/ 73895 w 191863"/>
                  <a:gd name="connsiteY9" fmla="*/ 146597 h 187826"/>
                  <a:gd name="connsiteX10" fmla="*/ 7105 w 191863"/>
                  <a:gd name="connsiteY10" fmla="*/ 138070 h 187826"/>
                  <a:gd name="connsiteX11" fmla="*/ 7105 w 191863"/>
                  <a:gd name="connsiteY11" fmla="*/ 182123 h 187826"/>
                  <a:gd name="connsiteX12" fmla="*/ 89526 w 191863"/>
                  <a:gd name="connsiteY12" fmla="*/ 187807 h 187826"/>
                  <a:gd name="connsiteX13" fmla="*/ 191842 w 191863"/>
                  <a:gd name="connsiteY13" fmla="*/ 128123 h 187826"/>
                  <a:gd name="connsiteX14" fmla="*/ 95211 w 191863"/>
                  <a:gd name="connsiteY14" fmla="*/ 69860 h 187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1863" h="187826">
                    <a:moveTo>
                      <a:pt x="95211" y="69860"/>
                    </a:moveTo>
                    <a:cubicBezTo>
                      <a:pt x="76737" y="68439"/>
                      <a:pt x="66789" y="64176"/>
                      <a:pt x="66789" y="55649"/>
                    </a:cubicBezTo>
                    <a:cubicBezTo>
                      <a:pt x="66789" y="44281"/>
                      <a:pt x="81000" y="40018"/>
                      <a:pt x="110842" y="40018"/>
                    </a:cubicBezTo>
                    <a:cubicBezTo>
                      <a:pt x="140684" y="40018"/>
                      <a:pt x="180474" y="45702"/>
                      <a:pt x="180474" y="45702"/>
                    </a:cubicBezTo>
                    <a:lnTo>
                      <a:pt x="180474" y="4491"/>
                    </a:lnTo>
                    <a:cubicBezTo>
                      <a:pt x="180474" y="4491"/>
                      <a:pt x="135000" y="-1193"/>
                      <a:pt x="90947" y="228"/>
                    </a:cubicBezTo>
                    <a:cubicBezTo>
                      <a:pt x="75316" y="228"/>
                      <a:pt x="0" y="228"/>
                      <a:pt x="0" y="59912"/>
                    </a:cubicBezTo>
                    <a:cubicBezTo>
                      <a:pt x="0" y="116755"/>
                      <a:pt x="73895" y="118176"/>
                      <a:pt x="105158" y="119597"/>
                    </a:cubicBezTo>
                    <a:cubicBezTo>
                      <a:pt x="116526" y="119597"/>
                      <a:pt x="129316" y="122439"/>
                      <a:pt x="129316" y="130965"/>
                    </a:cubicBezTo>
                    <a:cubicBezTo>
                      <a:pt x="130737" y="143755"/>
                      <a:pt x="108000" y="146597"/>
                      <a:pt x="73895" y="146597"/>
                    </a:cubicBezTo>
                    <a:cubicBezTo>
                      <a:pt x="39789" y="146597"/>
                      <a:pt x="7105" y="138070"/>
                      <a:pt x="7105" y="138070"/>
                    </a:cubicBezTo>
                    <a:lnTo>
                      <a:pt x="7105" y="182123"/>
                    </a:lnTo>
                    <a:cubicBezTo>
                      <a:pt x="7105" y="182123"/>
                      <a:pt x="54000" y="187807"/>
                      <a:pt x="89526" y="187807"/>
                    </a:cubicBezTo>
                    <a:cubicBezTo>
                      <a:pt x="105158" y="187807"/>
                      <a:pt x="193263" y="190649"/>
                      <a:pt x="191842" y="128123"/>
                    </a:cubicBezTo>
                    <a:cubicBezTo>
                      <a:pt x="193263" y="64176"/>
                      <a:pt x="122211" y="71281"/>
                      <a:pt x="95211" y="69860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0221DD12-4B4F-4911-85F2-7657655003F6}"/>
                  </a:ext>
                </a:extLst>
              </p:cNvPr>
              <p:cNvSpPr/>
              <p:nvPr/>
            </p:nvSpPr>
            <p:spPr>
              <a:xfrm>
                <a:off x="11392023" y="6339508"/>
                <a:ext cx="100945" cy="137842"/>
              </a:xfrm>
              <a:custGeom>
                <a:avLst/>
                <a:gdLst>
                  <a:gd name="connsiteX0" fmla="*/ 4314 w 100945"/>
                  <a:gd name="connsiteY0" fmla="*/ 137842 h 137842"/>
                  <a:gd name="connsiteX1" fmla="*/ 100945 w 100945"/>
                  <a:gd name="connsiteY1" fmla="*/ 55421 h 137842"/>
                  <a:gd name="connsiteX2" fmla="*/ 100945 w 100945"/>
                  <a:gd name="connsiteY2" fmla="*/ 0 h 137842"/>
                  <a:gd name="connsiteX3" fmla="*/ 51 w 100945"/>
                  <a:gd name="connsiteY3" fmla="*/ 109421 h 137842"/>
                  <a:gd name="connsiteX4" fmla="*/ 4314 w 100945"/>
                  <a:gd name="connsiteY4" fmla="*/ 137842 h 137842"/>
                  <a:gd name="connsiteX5" fmla="*/ 4314 w 100945"/>
                  <a:gd name="connsiteY5" fmla="*/ 137842 h 137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945" h="137842">
                    <a:moveTo>
                      <a:pt x="4314" y="137842"/>
                    </a:moveTo>
                    <a:cubicBezTo>
                      <a:pt x="11419" y="99474"/>
                      <a:pt x="49787" y="56842"/>
                      <a:pt x="100945" y="55421"/>
                    </a:cubicBezTo>
                    <a:lnTo>
                      <a:pt x="100945" y="0"/>
                    </a:lnTo>
                    <a:cubicBezTo>
                      <a:pt x="27051" y="8526"/>
                      <a:pt x="-1370" y="72474"/>
                      <a:pt x="51" y="109421"/>
                    </a:cubicBezTo>
                    <a:cubicBezTo>
                      <a:pt x="51" y="119369"/>
                      <a:pt x="1472" y="129316"/>
                      <a:pt x="4314" y="137842"/>
                    </a:cubicBezTo>
                    <a:lnTo>
                      <a:pt x="4314" y="137842"/>
                    </a:lnTo>
                    <a:close/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EAF4C72-F900-4059-9C84-2813E8024B7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42F63370-8532-4D34-9446-E54D6CC8C19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97463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171A715E-F61B-4612-B801-1A94422B829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292389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19" name="Picture Placeholder 14">
            <a:extLst>
              <a:ext uri="{FF2B5EF4-FFF2-40B4-BE49-F238E27FC236}">
                <a16:creationId xmlns:a16="http://schemas.microsoft.com/office/drawing/2014/main" id="{EB3AB690-E499-4D45-A7C5-BDF760163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94926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0DC306A9-D475-4FEB-A51C-B49BDF1675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21" name="Picture Placeholder 14">
            <a:extLst>
              <a:ext uri="{FF2B5EF4-FFF2-40B4-BE49-F238E27FC236}">
                <a16:creationId xmlns:a16="http://schemas.microsoft.com/office/drawing/2014/main" id="{B6329C3A-A9AF-419A-B247-3089AE0F22C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97463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F11B47FB-3100-49F0-8967-F6148B9AA7B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292389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23" name="Picture Placeholder 14">
            <a:extLst>
              <a:ext uri="{FF2B5EF4-FFF2-40B4-BE49-F238E27FC236}">
                <a16:creationId xmlns:a16="http://schemas.microsoft.com/office/drawing/2014/main" id="{E4CD6A19-31A7-4B97-967B-C1BACF39AE0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94926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24" name="Picture Placeholder 14">
            <a:extLst>
              <a:ext uri="{FF2B5EF4-FFF2-40B4-BE49-F238E27FC236}">
                <a16:creationId xmlns:a16="http://schemas.microsoft.com/office/drawing/2014/main" id="{FBF60AD9-F665-408B-A07D-3DA9848947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DEA30BE2-219A-43AF-BF54-8195F9E3A87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097463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85B17022-B96A-4BA4-B52D-1737627682A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292389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3D74F5FE-7F34-46A1-8FEF-A8ADA2AC5B7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94926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2178E2D9-12FA-44EB-9399-062F9145CF1E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da-DK" sz="800" smtClean="0">
                <a:solidFill>
                  <a:schemeClr val="tx1"/>
                </a:solidFill>
              </a:rPr>
              <a:pPr/>
              <a:t>‹#›</a:t>
            </a:fld>
            <a:endParaRPr lang="da-DK" sz="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5927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1825" userDrawn="1">
          <p15:clr>
            <a:srgbClr val="A4A3A4"/>
          </p15:clr>
        </p15:guide>
        <p15:guide id="12" pos="1950" userDrawn="1">
          <p15:clr>
            <a:srgbClr val="A4A3A4"/>
          </p15:clr>
        </p15:guide>
        <p15:guide id="13" pos="3775" userDrawn="1">
          <p15:clr>
            <a:srgbClr val="A4A3A4"/>
          </p15:clr>
        </p15:guide>
        <p15:guide id="14" pos="3902" userDrawn="1">
          <p15:clr>
            <a:srgbClr val="A4A3A4"/>
          </p15:clr>
        </p15:guide>
        <p15:guide id="15" pos="5728" userDrawn="1">
          <p15:clr>
            <a:srgbClr val="A4A3A4"/>
          </p15:clr>
        </p15:guide>
        <p15:guide id="16" pos="5852" userDrawn="1">
          <p15:clr>
            <a:srgbClr val="A4A3A4"/>
          </p15:clr>
        </p15:guide>
        <p15:guide id="17" orient="horz" pos="1335" userDrawn="1">
          <p15:clr>
            <a:srgbClr val="A4A3A4"/>
          </p15:clr>
        </p15:guide>
        <p15:guide id="18" orient="horz" pos="1210" userDrawn="1">
          <p15:clr>
            <a:srgbClr val="A4A3A4"/>
          </p15:clr>
        </p15:guide>
        <p15:guide id="19" orient="horz" pos="2546" userDrawn="1">
          <p15:clr>
            <a:srgbClr val="A4A3A4"/>
          </p15:clr>
        </p15:guide>
        <p15:guide id="20" orient="horz" pos="2671" userDrawn="1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097A650-4712-4097-931A-5EE2BCDC4014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819650" y="0"/>
            <a:ext cx="7372350" cy="6858000"/>
          </a:xfrm>
          <a:prstGeom prst="rect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err="1"/>
              <a:t>Click</a:t>
            </a:r>
            <a:r>
              <a:rPr lang="da-DK"/>
              <a:t> and </a:t>
            </a:r>
            <a:r>
              <a:rPr lang="da-DK" err="1"/>
              <a:t>insert</a:t>
            </a:r>
            <a:r>
              <a:rPr lang="da-DK"/>
              <a:t> image</a:t>
            </a:r>
          </a:p>
          <a:p>
            <a:endParaRPr lang="da-DK"/>
          </a:p>
          <a:p>
            <a:endParaRPr lang="da-DK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FEBFBEB-1222-4E81-B4BC-C71DBAB2DD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1"/>
            <a:ext cx="4305600" cy="1014986"/>
          </a:xfrm>
          <a:prstGeom prst="rect">
            <a:avLst/>
          </a:prstGeom>
        </p:spPr>
        <p:txBody>
          <a:bodyPr lIns="72000" tIns="36000" rIns="72000" bIns="36000" anchor="b"/>
          <a:lstStyle>
            <a:lvl1pPr>
              <a:defRPr sz="3000"/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headline</a:t>
            </a:r>
            <a:endParaRPr lang="da-DK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0E74145-CF5A-4071-A2BE-2C6FA63A35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1822030"/>
            <a:ext cx="4305600" cy="4337841"/>
          </a:xfrm>
        </p:spPr>
        <p:txBody>
          <a:bodyPr lIns="72000" tIns="36000" rIns="72000" bIns="36000">
            <a:noAutofit/>
          </a:bodyPr>
          <a:lstStyle/>
          <a:p>
            <a:pPr lvl="0"/>
            <a:r>
              <a:rPr lang="da-DK" noProof="0" err="1"/>
              <a:t>Click</a:t>
            </a:r>
            <a:r>
              <a:rPr lang="da-DK" noProof="0"/>
              <a:t> to </a:t>
            </a:r>
            <a:r>
              <a:rPr lang="da-DK" noProof="0" err="1"/>
              <a:t>edit</a:t>
            </a:r>
            <a:r>
              <a:rPr lang="da-DK" noProof="0"/>
              <a:t> </a:t>
            </a:r>
            <a:r>
              <a:rPr lang="da-DK" noProof="0" err="1"/>
              <a:t>text</a:t>
            </a:r>
            <a:endParaRPr lang="da-DK" noProof="0"/>
          </a:p>
          <a:p>
            <a:pPr lvl="1"/>
            <a:r>
              <a:rPr lang="da-DK" noProof="0"/>
              <a:t>Second </a:t>
            </a:r>
            <a:r>
              <a:rPr lang="da-DK" noProof="0" err="1"/>
              <a:t>level</a:t>
            </a:r>
            <a:endParaRPr lang="da-DK" noProof="0"/>
          </a:p>
          <a:p>
            <a:pPr lvl="2"/>
            <a:r>
              <a:rPr lang="da-DK" noProof="0"/>
              <a:t>Third </a:t>
            </a:r>
            <a:r>
              <a:rPr lang="da-DK" noProof="0" err="1"/>
              <a:t>level</a:t>
            </a:r>
            <a:endParaRPr lang="da-DK" noProof="0"/>
          </a:p>
          <a:p>
            <a:pPr lvl="3"/>
            <a:r>
              <a:rPr lang="da-DK" noProof="0" err="1"/>
              <a:t>Fourth</a:t>
            </a:r>
            <a:r>
              <a:rPr lang="da-DK" noProof="0"/>
              <a:t> </a:t>
            </a:r>
            <a:r>
              <a:rPr lang="da-DK" noProof="0" err="1"/>
              <a:t>level</a:t>
            </a:r>
            <a:endParaRPr lang="da-DK" noProof="0"/>
          </a:p>
          <a:p>
            <a:pPr lvl="4"/>
            <a:r>
              <a:rPr lang="da-DK" noProof="0"/>
              <a:t>Fifth </a:t>
            </a:r>
            <a:r>
              <a:rPr lang="da-DK" noProof="0" err="1"/>
              <a:t>level</a:t>
            </a:r>
            <a:endParaRPr lang="da-DK" noProof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6078D9B-5AAD-45B7-BF17-A69402EF4FD5}"/>
              </a:ext>
            </a:extLst>
          </p:cNvPr>
          <p:cNvCxnSpPr/>
          <p:nvPr/>
        </p:nvCxnSpPr>
        <p:spPr>
          <a:xfrm flipH="1">
            <a:off x="360000" y="1534303"/>
            <a:ext cx="2520000" cy="0"/>
          </a:xfrm>
          <a:prstGeom prst="line">
            <a:avLst/>
          </a:prstGeom>
          <a:ln w="920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ogo on top">
            <a:extLst>
              <a:ext uri="{FF2B5EF4-FFF2-40B4-BE49-F238E27FC236}">
                <a16:creationId xmlns:a16="http://schemas.microsoft.com/office/drawing/2014/main" id="{6DF414E4-381E-49EB-AE58-12043C54FDC6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4D9553C-B70F-4221-8C05-67C34C6F5F0A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da-DK" sz="800" smtClean="0">
                <a:solidFill>
                  <a:schemeClr val="tx1"/>
                </a:solidFill>
              </a:rPr>
              <a:pPr/>
              <a:t>‹#›</a:t>
            </a:fld>
            <a:endParaRPr lang="da-DK" sz="800">
              <a:solidFill>
                <a:schemeClr val="tx1"/>
              </a:solidFill>
            </a:endParaRPr>
          </a:p>
        </p:txBody>
      </p:sp>
      <p:sp>
        <p:nvSpPr>
          <p:cNvPr id="11" name="White line">
            <a:extLst>
              <a:ext uri="{FF2B5EF4-FFF2-40B4-BE49-F238E27FC236}">
                <a16:creationId xmlns:a16="http://schemas.microsoft.com/office/drawing/2014/main" id="{6E547FF5-2749-4105-9273-198608CDA3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5004000"/>
            <a:ext cx="18000" cy="25200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624554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 animBg="1">
        <p:tmplLst>
          <p:tmpl>
            <p:tnLst>
              <p:par>
                <p:cTn presetID="2" presetClass="entr" presetSubtype="2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hf hdr="0" dt="0"/>
  <p:extLst>
    <p:ext uri="{DCECCB84-F9BA-43D5-87BE-67443E8EF086}">
      <p15:sldGuideLst xmlns:p15="http://schemas.microsoft.com/office/powerpoint/2012/main">
        <p15:guide id="1" pos="3036">
          <p15:clr>
            <a:srgbClr val="A4A3A4"/>
          </p15:clr>
        </p15:guide>
        <p15:guide id="2" pos="2938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 and map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078E2B5-22BB-47BE-A4E4-FDDF70ABD65D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4A5F82C-F561-4E43-91A4-85B9CEEF7B0D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da-DK" sz="800" smtClean="0">
                <a:solidFill>
                  <a:schemeClr val="tx1"/>
                </a:solidFill>
              </a:rPr>
              <a:pPr/>
              <a:t>‹#›</a:t>
            </a:fld>
            <a:endParaRPr lang="da-DK" sz="800">
              <a:solidFill>
                <a:schemeClr val="tx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9BFB9CF-776D-4B5D-A09E-84C180C1FC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1"/>
            <a:ext cx="4305600" cy="1014986"/>
          </a:xfrm>
          <a:prstGeom prst="rect">
            <a:avLst/>
          </a:prstGeom>
        </p:spPr>
        <p:txBody>
          <a:bodyPr lIns="72000" tIns="36000" rIns="72000" bIns="36000" anchor="b"/>
          <a:lstStyle>
            <a:lvl1pPr>
              <a:defRPr sz="3000"/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headline</a:t>
            </a:r>
            <a:endParaRPr lang="da-DK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946C6D5-7BD7-43BA-8CF8-281D64AE67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1822030"/>
            <a:ext cx="4305600" cy="4337841"/>
          </a:xfrm>
        </p:spPr>
        <p:txBody>
          <a:bodyPr lIns="72000" tIns="36000" rIns="72000" bIns="36000">
            <a:noAutofit/>
          </a:bodyPr>
          <a:lstStyle/>
          <a:p>
            <a:pPr lvl="0"/>
            <a:r>
              <a:rPr lang="da-DK" noProof="0" err="1"/>
              <a:t>Click</a:t>
            </a:r>
            <a:r>
              <a:rPr lang="da-DK" noProof="0"/>
              <a:t> to </a:t>
            </a:r>
            <a:r>
              <a:rPr lang="da-DK" noProof="0" err="1"/>
              <a:t>edit</a:t>
            </a:r>
            <a:r>
              <a:rPr lang="da-DK" noProof="0"/>
              <a:t> </a:t>
            </a:r>
            <a:r>
              <a:rPr lang="da-DK" noProof="0" err="1"/>
              <a:t>text</a:t>
            </a:r>
            <a:endParaRPr lang="da-DK" noProof="0"/>
          </a:p>
          <a:p>
            <a:pPr lvl="1"/>
            <a:r>
              <a:rPr lang="da-DK" noProof="0"/>
              <a:t>Second </a:t>
            </a:r>
            <a:r>
              <a:rPr lang="da-DK" noProof="0" err="1"/>
              <a:t>level</a:t>
            </a:r>
            <a:endParaRPr lang="da-DK" noProof="0"/>
          </a:p>
          <a:p>
            <a:pPr lvl="2"/>
            <a:r>
              <a:rPr lang="da-DK" noProof="0"/>
              <a:t>Third </a:t>
            </a:r>
            <a:r>
              <a:rPr lang="da-DK" noProof="0" err="1"/>
              <a:t>level</a:t>
            </a:r>
            <a:endParaRPr lang="da-DK" noProof="0"/>
          </a:p>
          <a:p>
            <a:pPr lvl="3"/>
            <a:r>
              <a:rPr lang="da-DK" noProof="0" err="1"/>
              <a:t>Fourth</a:t>
            </a:r>
            <a:r>
              <a:rPr lang="da-DK" noProof="0"/>
              <a:t> </a:t>
            </a:r>
            <a:r>
              <a:rPr lang="da-DK" noProof="0" err="1"/>
              <a:t>level</a:t>
            </a:r>
            <a:endParaRPr lang="da-DK" noProof="0"/>
          </a:p>
          <a:p>
            <a:pPr lvl="4"/>
            <a:r>
              <a:rPr lang="da-DK" noProof="0"/>
              <a:t>Fifth </a:t>
            </a:r>
            <a:r>
              <a:rPr lang="da-DK" noProof="0" err="1"/>
              <a:t>level</a:t>
            </a:r>
            <a:endParaRPr lang="da-DK" noProof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F34DDB0-6B87-41B2-80A4-2D17D9460C68}"/>
              </a:ext>
            </a:extLst>
          </p:cNvPr>
          <p:cNvCxnSpPr/>
          <p:nvPr/>
        </p:nvCxnSpPr>
        <p:spPr>
          <a:xfrm flipH="1">
            <a:off x="360000" y="1534303"/>
            <a:ext cx="2520000" cy="0"/>
          </a:xfrm>
          <a:prstGeom prst="line">
            <a:avLst/>
          </a:prstGeom>
          <a:ln w="920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2972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8" userDrawn="1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D4BE65-C530-4290-986A-FB215B0F933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9400" y="1141270"/>
            <a:ext cx="5540398" cy="61971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>
              <a:buNone/>
              <a:defRPr sz="2000" b="1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F22894F-B793-4F80-9F3B-C921E0A14A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1781622"/>
            <a:ext cx="5540400" cy="4204800"/>
          </a:xfrm>
          <a:ln w="19050">
            <a:solidFill>
              <a:schemeClr val="accent6"/>
            </a:solidFill>
          </a:ln>
        </p:spPr>
        <p:txBody>
          <a:bodyPr lIns="72000" tIns="72000" rIns="72000" bIns="72000">
            <a:noAutofit/>
          </a:bodyPr>
          <a:lstStyle>
            <a:lvl1pPr>
              <a:defRPr baseline="0"/>
            </a:lvl1pPr>
          </a:lstStyle>
          <a:p>
            <a:pPr lvl="0"/>
            <a:r>
              <a:rPr lang="da-DK" noProof="0" err="1"/>
              <a:t>Click</a:t>
            </a:r>
            <a:r>
              <a:rPr lang="da-DK" noProof="0"/>
              <a:t> to </a:t>
            </a:r>
            <a:r>
              <a:rPr lang="da-DK" noProof="0" err="1"/>
              <a:t>edit</a:t>
            </a:r>
            <a:r>
              <a:rPr lang="da-DK" noProof="0"/>
              <a:t> </a:t>
            </a:r>
            <a:r>
              <a:rPr lang="da-DK" noProof="0" err="1"/>
              <a:t>text</a:t>
            </a:r>
            <a:r>
              <a:rPr lang="da-DK" noProof="0"/>
              <a:t> or </a:t>
            </a:r>
            <a:r>
              <a:rPr lang="da-DK" noProof="0" err="1"/>
              <a:t>add</a:t>
            </a:r>
            <a:r>
              <a:rPr lang="da-DK" noProof="0"/>
              <a:t> media</a:t>
            </a:r>
          </a:p>
          <a:p>
            <a:pPr lvl="1"/>
            <a:r>
              <a:rPr lang="da-DK" noProof="0"/>
              <a:t>Second </a:t>
            </a:r>
            <a:r>
              <a:rPr lang="da-DK" noProof="0" err="1"/>
              <a:t>level</a:t>
            </a:r>
            <a:endParaRPr lang="da-DK" noProof="0"/>
          </a:p>
          <a:p>
            <a:pPr lvl="2"/>
            <a:r>
              <a:rPr lang="da-DK" noProof="0"/>
              <a:t>Third </a:t>
            </a:r>
            <a:r>
              <a:rPr lang="da-DK" noProof="0" err="1"/>
              <a:t>level</a:t>
            </a:r>
            <a:endParaRPr lang="da-DK" noProof="0"/>
          </a:p>
          <a:p>
            <a:pPr lvl="3"/>
            <a:r>
              <a:rPr lang="da-DK" noProof="0" err="1"/>
              <a:t>Fourth</a:t>
            </a:r>
            <a:r>
              <a:rPr lang="da-DK" noProof="0"/>
              <a:t> </a:t>
            </a:r>
            <a:r>
              <a:rPr lang="da-DK" noProof="0" err="1"/>
              <a:t>level</a:t>
            </a:r>
            <a:endParaRPr lang="da-DK" noProof="0"/>
          </a:p>
          <a:p>
            <a:pPr lvl="4"/>
            <a:r>
              <a:rPr lang="da-DK" noProof="0"/>
              <a:t>Fifth </a:t>
            </a:r>
            <a:r>
              <a:rPr lang="da-DK" noProof="0" err="1"/>
              <a:t>level</a:t>
            </a:r>
            <a:endParaRPr lang="da-DK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FCF2E0-BB49-4491-94D2-B90F9291BCC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92202" y="1141270"/>
            <a:ext cx="5540398" cy="61971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>
              <a:buNone/>
              <a:defRPr sz="2000" b="1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4F958320-7923-485F-A705-308A16EADBFD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92800" y="1781622"/>
            <a:ext cx="5540400" cy="4204800"/>
          </a:xfrm>
          <a:ln w="19050">
            <a:solidFill>
              <a:schemeClr val="accent6"/>
            </a:solidFill>
          </a:ln>
        </p:spPr>
        <p:txBody>
          <a:bodyPr lIns="72000" tIns="72000" rIns="72000" bIns="72000">
            <a:noAutofit/>
          </a:bodyPr>
          <a:lstStyle>
            <a:lvl1pPr>
              <a:defRPr/>
            </a:lvl1pPr>
          </a:lstStyle>
          <a:p>
            <a:pPr lvl="0"/>
            <a:r>
              <a:rPr lang="da-DK" noProof="0" err="1"/>
              <a:t>Click</a:t>
            </a:r>
            <a:r>
              <a:rPr lang="da-DK" noProof="0"/>
              <a:t> to </a:t>
            </a:r>
            <a:r>
              <a:rPr lang="da-DK" noProof="0" err="1"/>
              <a:t>edit</a:t>
            </a:r>
            <a:r>
              <a:rPr lang="da-DK" noProof="0"/>
              <a:t> </a:t>
            </a:r>
            <a:r>
              <a:rPr lang="da-DK" noProof="0" err="1"/>
              <a:t>text</a:t>
            </a:r>
            <a:r>
              <a:rPr lang="da-DK" noProof="0"/>
              <a:t> or </a:t>
            </a:r>
            <a:r>
              <a:rPr lang="da-DK" noProof="0" err="1"/>
              <a:t>add</a:t>
            </a:r>
            <a:r>
              <a:rPr lang="da-DK" noProof="0"/>
              <a:t> media</a:t>
            </a:r>
          </a:p>
          <a:p>
            <a:pPr lvl="1"/>
            <a:r>
              <a:rPr lang="da-DK" noProof="0"/>
              <a:t>Second </a:t>
            </a:r>
            <a:r>
              <a:rPr lang="da-DK" noProof="0" err="1"/>
              <a:t>level</a:t>
            </a:r>
            <a:endParaRPr lang="da-DK" noProof="0"/>
          </a:p>
          <a:p>
            <a:pPr lvl="2"/>
            <a:r>
              <a:rPr lang="da-DK" noProof="0"/>
              <a:t>Third </a:t>
            </a:r>
            <a:r>
              <a:rPr lang="da-DK" noProof="0" err="1"/>
              <a:t>level</a:t>
            </a:r>
            <a:endParaRPr lang="da-DK" noProof="0"/>
          </a:p>
          <a:p>
            <a:pPr lvl="3"/>
            <a:r>
              <a:rPr lang="da-DK" noProof="0" err="1"/>
              <a:t>Fourth</a:t>
            </a:r>
            <a:r>
              <a:rPr lang="da-DK" noProof="0"/>
              <a:t> </a:t>
            </a:r>
            <a:r>
              <a:rPr lang="da-DK" noProof="0" err="1"/>
              <a:t>level</a:t>
            </a:r>
            <a:endParaRPr lang="da-DK" noProof="0"/>
          </a:p>
          <a:p>
            <a:pPr lvl="4"/>
            <a:r>
              <a:rPr lang="da-DK" noProof="0"/>
              <a:t>Fifth </a:t>
            </a:r>
            <a:r>
              <a:rPr lang="da-DK" noProof="0" err="1"/>
              <a:t>level</a:t>
            </a:r>
            <a:endParaRPr lang="da-DK" noProof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9EEDE1A-9C78-4568-A47E-47F47AA964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431EF4F5-27FF-4BC7-9411-638B999E1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468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rmAutofit/>
          </a:bodyPr>
          <a:lstStyle>
            <a:lvl1pPr>
              <a:defRPr>
                <a:solidFill>
                  <a:srgbClr val="303030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headline</a:t>
            </a:r>
            <a:endParaRPr lang="da-DK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E4075232-5F4D-4FC9-86C6-5CB7CB93532A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da-DK" sz="800" smtClean="0"/>
              <a:pPr/>
              <a:t>‹#›</a:t>
            </a:fld>
            <a:endParaRPr lang="da-DK" sz="80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B37B6DA-2483-47EF-9105-F720EADDC656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2306171" cy="0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16075F3-A915-49A1-96CE-A2E78446D642}"/>
              </a:ext>
            </a:extLst>
          </p:cNvPr>
          <p:cNvCxnSpPr>
            <a:cxnSpLocks/>
          </p:cNvCxnSpPr>
          <p:nvPr/>
        </p:nvCxnSpPr>
        <p:spPr>
          <a:xfrm>
            <a:off x="11832600" y="6264000"/>
            <a:ext cx="359400" cy="0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95012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4" pos="3963" userDrawn="1">
          <p15:clr>
            <a:srgbClr val="A4A3A4"/>
          </p15:clr>
        </p15:guide>
        <p15:guide id="5" pos="3716" userDrawn="1">
          <p15:clr>
            <a:srgbClr val="A4A3A4"/>
          </p15:clr>
        </p15:guide>
        <p15:guide id="6" orient="horz" pos="827" userDrawn="1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Quot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D3BAE68-619C-4E72-824F-F72BF1532871}"/>
              </a:ext>
            </a:extLst>
          </p:cNvPr>
          <p:cNvCxnSpPr/>
          <p:nvPr/>
        </p:nvCxnSpPr>
        <p:spPr>
          <a:xfrm flipH="1">
            <a:off x="2852101" y="4008391"/>
            <a:ext cx="2520000" cy="0"/>
          </a:xfrm>
          <a:prstGeom prst="line">
            <a:avLst/>
          </a:prstGeom>
          <a:ln w="920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C2C21B-CD4C-49CB-B367-2437B48D32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2400" y="1234439"/>
            <a:ext cx="4531294" cy="2151497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>
              <a:buNone/>
              <a:defRPr i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i="1">
                <a:solidFill>
                  <a:schemeClr val="tx1"/>
                </a:solidFill>
                <a:latin typeface="+mn-lt"/>
              </a:defRPr>
            </a:lvl2pPr>
            <a:lvl3pPr marL="914400" indent="0">
              <a:buNone/>
              <a:defRPr i="1">
                <a:solidFill>
                  <a:schemeClr val="tx1"/>
                </a:solidFill>
                <a:latin typeface="+mn-lt"/>
              </a:defRPr>
            </a:lvl3pPr>
            <a:lvl4pPr marL="1371600" indent="0">
              <a:buNone/>
              <a:defRPr i="1">
                <a:solidFill>
                  <a:schemeClr val="tx1"/>
                </a:solidFill>
                <a:latin typeface="+mn-lt"/>
              </a:defRPr>
            </a:lvl4pPr>
            <a:lvl5pPr marL="1828800" indent="0">
              <a:buNone/>
              <a:defRPr i="1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a-DK"/>
              <a:t>“ </a:t>
            </a:r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quote</a:t>
            </a:r>
            <a:r>
              <a:rPr lang="da-DK"/>
              <a:t>..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D6B9DF4D-F2BC-4ED0-9111-08038ED808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2400" y="3557015"/>
            <a:ext cx="4531294" cy="274312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 lang="da-DK" sz="1400" b="0" i="0" smtClean="0">
                <a:solidFill>
                  <a:schemeClr val="bg1"/>
                </a:solidFill>
                <a:effectLst/>
              </a:defRPr>
            </a:lvl1pPr>
            <a:lvl2pPr marL="457200" indent="0">
              <a:buNone/>
              <a:defRPr i="1">
                <a:solidFill>
                  <a:schemeClr val="tx1"/>
                </a:solidFill>
                <a:latin typeface="+mn-lt"/>
              </a:defRPr>
            </a:lvl2pPr>
            <a:lvl3pPr marL="914400" indent="0">
              <a:buNone/>
              <a:defRPr i="1">
                <a:solidFill>
                  <a:schemeClr val="tx1"/>
                </a:solidFill>
                <a:latin typeface="+mn-lt"/>
              </a:defRPr>
            </a:lvl3pPr>
            <a:lvl4pPr marL="1371600" indent="0">
              <a:buNone/>
              <a:defRPr i="1">
                <a:solidFill>
                  <a:schemeClr val="tx1"/>
                </a:solidFill>
                <a:latin typeface="+mn-lt"/>
              </a:defRPr>
            </a:lvl4pPr>
            <a:lvl5pPr marL="1828800" indent="0">
              <a:buNone/>
              <a:defRPr i="1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a-DK"/>
              <a:t>- </a:t>
            </a:r>
            <a:r>
              <a:rPr lang="da-DK" err="1"/>
              <a:t>Insert</a:t>
            </a:r>
            <a:r>
              <a:rPr lang="da-DK"/>
              <a:t> </a:t>
            </a:r>
            <a:r>
              <a:rPr lang="da-DK" err="1"/>
              <a:t>name</a:t>
            </a:r>
            <a:r>
              <a:rPr lang="da-DK"/>
              <a:t> of </a:t>
            </a:r>
            <a:r>
              <a:rPr lang="da-DK" err="1"/>
              <a:t>quotee</a:t>
            </a:r>
            <a:endParaRPr lang="da-DK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9929B9F-11AA-41A9-8ABF-8BCDD8479B88}"/>
              </a:ext>
            </a:extLst>
          </p:cNvPr>
          <p:cNvCxnSpPr/>
          <p:nvPr/>
        </p:nvCxnSpPr>
        <p:spPr>
          <a:xfrm flipH="1">
            <a:off x="840806" y="1155954"/>
            <a:ext cx="2520000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526A2FA-6FEB-47DD-8D22-35F2EB96812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096000" y="1"/>
            <a:ext cx="6096000" cy="685799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image or </a:t>
            </a:r>
            <a:r>
              <a:rPr lang="da-DK" err="1"/>
              <a:t>icon</a:t>
            </a:r>
            <a:endParaRPr lang="da-DK"/>
          </a:p>
          <a:p>
            <a:pPr lvl="0"/>
            <a:r>
              <a:rPr lang="da-DK"/>
              <a:t>													</a:t>
            </a:r>
          </a:p>
          <a:p>
            <a:pPr lvl="0"/>
            <a:endParaRPr lang="da-DK"/>
          </a:p>
          <a:p>
            <a:pPr lvl="0"/>
            <a:endParaRPr lang="da-DK"/>
          </a:p>
          <a:p>
            <a:pPr lvl="0"/>
            <a:endParaRPr lang="da-DK"/>
          </a:p>
          <a:p>
            <a:pPr lvl="0"/>
            <a:endParaRPr lang="da-DK"/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B2B94D57-3FE2-4256-8FB4-1491CE5D1A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28290" y="6375818"/>
            <a:ext cx="511868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10" name="Logo on top">
            <a:extLst>
              <a:ext uri="{FF2B5EF4-FFF2-40B4-BE49-F238E27FC236}">
                <a16:creationId xmlns:a16="http://schemas.microsoft.com/office/drawing/2014/main" id="{EFB6BF16-E59E-48F1-B9FF-6A64926F4FDB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988533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 dt="0"/>
  <p:extLst>
    <p:ext uri="{DCECCB84-F9BA-43D5-87BE-67443E8EF086}">
      <p15:sldGuideLst xmlns:p15="http://schemas.microsoft.com/office/powerpoint/2012/main">
        <p15:guide id="1" pos="3839">
          <p15:clr>
            <a:srgbClr val="A4A3A4"/>
          </p15:clr>
        </p15:guide>
        <p15:guide id="2" pos="530">
          <p15:clr>
            <a:srgbClr val="A4A3A4"/>
          </p15:clr>
        </p15:guide>
        <p15:guide id="3" pos="3385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24617FF-8440-4B4B-B5DC-B52456B510C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image or </a:t>
            </a:r>
            <a:r>
              <a:rPr lang="da-DK" err="1"/>
              <a:t>leave</a:t>
            </a:r>
            <a:r>
              <a:rPr lang="da-DK"/>
              <a:t> to </a:t>
            </a:r>
            <a:r>
              <a:rPr lang="da-DK" err="1"/>
              <a:t>preserve</a:t>
            </a:r>
            <a:r>
              <a:rPr lang="da-DK"/>
              <a:t> </a:t>
            </a:r>
            <a:r>
              <a:rPr lang="da-DK" err="1"/>
              <a:t>colored</a:t>
            </a:r>
            <a:r>
              <a:rPr lang="da-DK"/>
              <a:t> </a:t>
            </a:r>
            <a:r>
              <a:rPr lang="da-DK" err="1"/>
              <a:t>background</a:t>
            </a:r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19040" y="5317066"/>
            <a:ext cx="6301728" cy="102814"/>
          </a:xfrm>
          <a:custGeom>
            <a:avLst/>
            <a:gdLst>
              <a:gd name="connsiteX0" fmla="*/ 0 w 3591613"/>
              <a:gd name="connsiteY0" fmla="*/ 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4" fmla="*/ 0 w 3591613"/>
              <a:gd name="connsiteY4" fmla="*/ 0 h 1357710"/>
              <a:gd name="connsiteX0" fmla="*/ 0 w 3591613"/>
              <a:gd name="connsiteY0" fmla="*/ 135771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0" fmla="*/ 0 w 3591613"/>
              <a:gd name="connsiteY0" fmla="*/ 0 h 0"/>
              <a:gd name="connsiteX1" fmla="*/ 3591613 w 3591613"/>
              <a:gd name="connsiteY1" fmla="*/ 0 h 0"/>
              <a:gd name="connsiteX2" fmla="*/ 0 w 3591613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91613">
                <a:moveTo>
                  <a:pt x="0" y="0"/>
                </a:moveTo>
                <a:lnTo>
                  <a:pt x="3591613" y="0"/>
                </a:lnTo>
                <a:lnTo>
                  <a:pt x="0" y="0"/>
                </a:lnTo>
                <a:close/>
              </a:path>
            </a:pathLst>
          </a:custGeom>
          <a:noFill/>
          <a:ln w="25400">
            <a:solidFill>
              <a:schemeClr val="bg1"/>
            </a:solidFill>
          </a:ln>
          <a:effectLst/>
        </p:spPr>
        <p:txBody>
          <a:bodyPr tIns="0" bIns="396000" anchor="b" anchorCtr="0">
            <a:noAutofit/>
          </a:bodyPr>
          <a:lstStyle>
            <a:lvl1pPr algn="r">
              <a:defRPr sz="3000"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chapter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0CE3EBF-845A-4679-AC79-706F41CBBB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3359" y="5528239"/>
            <a:ext cx="4791075" cy="808404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marL="457200" indent="0" algn="r">
              <a:buNone/>
              <a:defRPr>
                <a:solidFill>
                  <a:schemeClr val="tx1"/>
                </a:solidFill>
              </a:defRPr>
            </a:lvl2pPr>
            <a:lvl3pPr marL="914400" indent="0" algn="r">
              <a:buNone/>
              <a:defRPr>
                <a:solidFill>
                  <a:schemeClr val="tx1"/>
                </a:solidFill>
              </a:defRPr>
            </a:lvl3pPr>
            <a:lvl4pPr marL="1371600" indent="0" algn="r">
              <a:buNone/>
              <a:defRPr>
                <a:solidFill>
                  <a:schemeClr val="tx1"/>
                </a:solidFill>
              </a:defRPr>
            </a:lvl4pPr>
            <a:lvl5pPr marL="1828800" indent="0" algn="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chapter</a:t>
            </a:r>
            <a:r>
              <a:rPr lang="da-DK"/>
              <a:t> </a:t>
            </a:r>
            <a:r>
              <a:rPr lang="da-DK" err="1"/>
              <a:t>number</a:t>
            </a:r>
            <a:r>
              <a:rPr lang="da-DK"/>
              <a:t> </a:t>
            </a:r>
          </a:p>
        </p:txBody>
      </p:sp>
      <p:sp>
        <p:nvSpPr>
          <p:cNvPr id="3" name="Date Placeholder 2" hidden="1"/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510D58F-CFEA-4848-9016-8CF12C266B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3200" y="1440000"/>
            <a:ext cx="6840000" cy="711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771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NIRAS SD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24617FF-8440-4B4B-B5DC-B52456B510C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image or </a:t>
            </a:r>
            <a:r>
              <a:rPr lang="da-DK" err="1"/>
              <a:t>leave</a:t>
            </a:r>
            <a:r>
              <a:rPr lang="da-DK"/>
              <a:t> to </a:t>
            </a:r>
            <a:r>
              <a:rPr lang="da-DK" err="1"/>
              <a:t>preserve</a:t>
            </a:r>
            <a:r>
              <a:rPr lang="da-DK"/>
              <a:t> </a:t>
            </a:r>
            <a:r>
              <a:rPr lang="da-DK" err="1"/>
              <a:t>colored</a:t>
            </a:r>
            <a:r>
              <a:rPr lang="da-DK"/>
              <a:t> </a:t>
            </a:r>
            <a:r>
              <a:rPr lang="da-DK" err="1"/>
              <a:t>background</a:t>
            </a:r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</p:txBody>
      </p:sp>
      <p:sp>
        <p:nvSpPr>
          <p:cNvPr id="3" name="Date Placeholder 2" hidden="1"/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AC85A68-5B82-4531-9E45-FABE4AB880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9040" y="5086769"/>
            <a:ext cx="6301728" cy="102814"/>
          </a:xfrm>
          <a:custGeom>
            <a:avLst/>
            <a:gdLst>
              <a:gd name="connsiteX0" fmla="*/ 0 w 3591613"/>
              <a:gd name="connsiteY0" fmla="*/ 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4" fmla="*/ 0 w 3591613"/>
              <a:gd name="connsiteY4" fmla="*/ 0 h 1357710"/>
              <a:gd name="connsiteX0" fmla="*/ 0 w 3591613"/>
              <a:gd name="connsiteY0" fmla="*/ 135771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0" fmla="*/ 0 w 3591613"/>
              <a:gd name="connsiteY0" fmla="*/ 0 h 0"/>
              <a:gd name="connsiteX1" fmla="*/ 3591613 w 3591613"/>
              <a:gd name="connsiteY1" fmla="*/ 0 h 0"/>
              <a:gd name="connsiteX2" fmla="*/ 0 w 3591613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91613">
                <a:moveTo>
                  <a:pt x="0" y="0"/>
                </a:moveTo>
                <a:lnTo>
                  <a:pt x="3591613" y="0"/>
                </a:lnTo>
                <a:lnTo>
                  <a:pt x="0" y="0"/>
                </a:lnTo>
                <a:close/>
              </a:path>
            </a:pathLst>
          </a:custGeom>
          <a:noFill/>
          <a:ln w="25400">
            <a:solidFill>
              <a:schemeClr val="tx1"/>
            </a:solidFill>
          </a:ln>
          <a:effectLst/>
        </p:spPr>
        <p:txBody>
          <a:bodyPr tIns="0" bIns="396000" anchor="b" anchorCtr="0">
            <a:noAutofit/>
          </a:bodyPr>
          <a:lstStyle>
            <a:lvl1pPr algn="r">
              <a:defRPr sz="3000">
                <a:solidFill>
                  <a:schemeClr val="tx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chapter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77D4F5F-51DE-4AE2-AB0E-0711B85406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3359" y="5297942"/>
            <a:ext cx="4791075" cy="808404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r">
              <a:buNone/>
              <a:defRPr>
                <a:solidFill>
                  <a:schemeClr val="tx1"/>
                </a:solidFill>
              </a:defRPr>
            </a:lvl2pPr>
            <a:lvl3pPr marL="914400" indent="0" algn="r">
              <a:buNone/>
              <a:defRPr>
                <a:solidFill>
                  <a:schemeClr val="tx1"/>
                </a:solidFill>
              </a:defRPr>
            </a:lvl3pPr>
            <a:lvl4pPr marL="1371600" indent="0" algn="r">
              <a:buNone/>
              <a:defRPr>
                <a:solidFill>
                  <a:schemeClr val="tx1"/>
                </a:solidFill>
              </a:defRPr>
            </a:lvl4pPr>
            <a:lvl5pPr marL="1828800" indent="0" algn="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chapter</a:t>
            </a:r>
            <a:r>
              <a:rPr lang="da-DK"/>
              <a:t> </a:t>
            </a:r>
            <a:r>
              <a:rPr lang="da-DK" err="1"/>
              <a:t>number</a:t>
            </a:r>
            <a:r>
              <a:rPr lang="da-DK"/>
              <a:t> 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0F6FCC7-0B3D-49C7-8ADF-C39654C9B2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2550" y="1440000"/>
            <a:ext cx="6840000" cy="711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489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nk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0BF64466-F367-40DF-8BAC-6FB3B331E88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DD956E29-1BC4-45C0-8DA6-E93C4087A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8290" y="6375818"/>
            <a:ext cx="511868" cy="365125"/>
          </a:xfrm>
        </p:spPr>
        <p:txBody>
          <a:bodyPr/>
          <a:lstStyle/>
          <a:p>
            <a:fld id="{24C8C45C-947F-4981-8B3F-4F32E973C901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6" name="White line">
            <a:extLst>
              <a:ext uri="{FF2B5EF4-FFF2-40B4-BE49-F238E27FC236}">
                <a16:creationId xmlns:a16="http://schemas.microsoft.com/office/drawing/2014/main" id="{0718C7EA-7BCE-47EF-8591-94F62ADBD0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8" name="White line">
            <a:extLst>
              <a:ext uri="{FF2B5EF4-FFF2-40B4-BE49-F238E27FC236}">
                <a16:creationId xmlns:a16="http://schemas.microsoft.com/office/drawing/2014/main" id="{BE45C979-3A8D-4BD4-8D8B-3E3BBCA92E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rot="5400000">
            <a:off x="1215000" y="4968000"/>
            <a:ext cx="90000" cy="2520000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66659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 animBg="1">
        <p:tmplLst>
          <p:tmpl>
            <p:tnLst>
              <p:par>
                <p:cTn presetID="2" presetClass="entr" presetSubtype="2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" grpId="0" uiExpand="1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lank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0BF64466-F367-40DF-8BAC-6FB3B331E88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DD956E29-1BC4-45C0-8DA6-E93C4087A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8290" y="6375818"/>
            <a:ext cx="511868" cy="365125"/>
          </a:xfrm>
        </p:spPr>
        <p:txBody>
          <a:bodyPr/>
          <a:lstStyle/>
          <a:p>
            <a:fld id="{24C8C45C-947F-4981-8B3F-4F32E973C901}" type="slidenum">
              <a:rPr lang="da-DK" smtClean="0"/>
              <a:pPr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40203107"/>
      </p:ext>
    </p:extLst>
  </p:cSld>
  <p:clrMapOvr>
    <a:masterClrMapping/>
  </p:clrMapOvr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acts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1D69198-452E-4A16-BA0F-DA0C681DA6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2512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8" progId="TCLayout.ActiveDocument.1">
                  <p:embed/>
                </p:oleObj>
              </mc:Choice>
              <mc:Fallback>
                <p:oleObj name="think-cell Slide" r:id="rId3" imgW="359" imgH="35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1D69198-452E-4A16-BA0F-DA0C681DA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D4D02CCD-754C-485C-A11B-E3D7545F58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headline</a:t>
            </a:r>
            <a:endParaRPr lang="da-DK"/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C044FC66-9F4B-45CC-9ACC-4FD8A77270D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solidFill>
                  <a:schemeClr val="accent4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subtitle</a:t>
            </a:r>
            <a:endParaRPr lang="da-DK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07A1FDB-D80D-499E-9847-704F166F3683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8150" y="1540488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da-DK" err="1"/>
              <a:t>Insert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. </a:t>
            </a:r>
            <a:br>
              <a:rPr lang="da-DK"/>
            </a:br>
            <a:r>
              <a:rPr lang="da-DK" err="1"/>
              <a:t>Use</a:t>
            </a:r>
            <a:r>
              <a:rPr lang="da-DK"/>
              <a:t> </a:t>
            </a:r>
            <a:r>
              <a:rPr lang="da-DK" err="1"/>
              <a:t>Crop</a:t>
            </a:r>
            <a:r>
              <a:rPr lang="da-DK"/>
              <a:t>/Fit.  </a:t>
            </a:r>
            <a:br>
              <a:rPr lang="da-DK"/>
            </a:br>
            <a:r>
              <a:rPr lang="da-DK" err="1"/>
              <a:t>Left</a:t>
            </a:r>
            <a:r>
              <a:rPr lang="da-DK"/>
              <a:t> </a:t>
            </a:r>
            <a:r>
              <a:rPr lang="da-DK" err="1"/>
              <a:t>align</a:t>
            </a:r>
            <a:r>
              <a:rPr lang="da-DK"/>
              <a:t> with </a:t>
            </a:r>
            <a:br>
              <a:rPr lang="da-DK"/>
            </a:br>
            <a:r>
              <a:rPr lang="da-DK" err="1"/>
              <a:t>Subtitle</a:t>
            </a:r>
            <a:r>
              <a:rPr lang="da-DK"/>
              <a:t> </a:t>
            </a:r>
            <a:br>
              <a:rPr lang="da-DK"/>
            </a:br>
            <a:r>
              <a:rPr lang="da-DK"/>
              <a:t>placeholder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7FE5E57D-CA99-4A62-90B5-399E760F7065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36593" y="3071239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da-DK" err="1"/>
              <a:t>Insert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. </a:t>
            </a:r>
            <a:br>
              <a:rPr lang="da-DK"/>
            </a:br>
            <a:r>
              <a:rPr lang="da-DK" err="1"/>
              <a:t>Use</a:t>
            </a:r>
            <a:r>
              <a:rPr lang="da-DK"/>
              <a:t> </a:t>
            </a:r>
            <a:r>
              <a:rPr lang="da-DK" err="1"/>
              <a:t>Crop</a:t>
            </a:r>
            <a:r>
              <a:rPr lang="da-DK"/>
              <a:t>/Fit.  </a:t>
            </a:r>
            <a:br>
              <a:rPr lang="da-DK"/>
            </a:br>
            <a:r>
              <a:rPr lang="da-DK" err="1"/>
              <a:t>Left</a:t>
            </a:r>
            <a:r>
              <a:rPr lang="da-DK"/>
              <a:t> </a:t>
            </a:r>
            <a:r>
              <a:rPr lang="da-DK" err="1"/>
              <a:t>align</a:t>
            </a:r>
            <a:r>
              <a:rPr lang="da-DK"/>
              <a:t> with </a:t>
            </a:r>
            <a:br>
              <a:rPr lang="da-DK"/>
            </a:br>
            <a:r>
              <a:rPr lang="da-DK" err="1"/>
              <a:t>Subtitle</a:t>
            </a:r>
            <a:r>
              <a:rPr lang="da-DK"/>
              <a:t> </a:t>
            </a:r>
            <a:br>
              <a:rPr lang="da-DK"/>
            </a:br>
            <a:r>
              <a:rPr lang="da-DK"/>
              <a:t>placeholder</a:t>
            </a:r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213528FE-2D0F-4594-81EC-A33B658B87D6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38150" y="4602278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da-DK" err="1"/>
              <a:t>Insert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. </a:t>
            </a:r>
            <a:br>
              <a:rPr lang="da-DK"/>
            </a:br>
            <a:r>
              <a:rPr lang="da-DK" err="1"/>
              <a:t>Use</a:t>
            </a:r>
            <a:r>
              <a:rPr lang="da-DK"/>
              <a:t> </a:t>
            </a:r>
            <a:r>
              <a:rPr lang="da-DK" err="1"/>
              <a:t>Crop</a:t>
            </a:r>
            <a:r>
              <a:rPr lang="da-DK"/>
              <a:t>/Fit.  </a:t>
            </a:r>
            <a:br>
              <a:rPr lang="da-DK"/>
            </a:br>
            <a:r>
              <a:rPr lang="da-DK" err="1"/>
              <a:t>Left</a:t>
            </a:r>
            <a:r>
              <a:rPr lang="da-DK"/>
              <a:t> </a:t>
            </a:r>
            <a:r>
              <a:rPr lang="da-DK" err="1"/>
              <a:t>align</a:t>
            </a:r>
            <a:r>
              <a:rPr lang="da-DK"/>
              <a:t> with </a:t>
            </a:r>
            <a:br>
              <a:rPr lang="da-DK"/>
            </a:br>
            <a:r>
              <a:rPr lang="da-DK" err="1"/>
              <a:t>Subtitle</a:t>
            </a:r>
            <a:r>
              <a:rPr lang="da-DK"/>
              <a:t> </a:t>
            </a:r>
            <a:br>
              <a:rPr lang="da-DK"/>
            </a:br>
            <a:r>
              <a:rPr lang="da-DK"/>
              <a:t>placeholder</a:t>
            </a:r>
          </a:p>
        </p:txBody>
      </p:sp>
      <p:sp>
        <p:nvSpPr>
          <p:cNvPr id="38" name="Picture Placeholder 5">
            <a:extLst>
              <a:ext uri="{FF2B5EF4-FFF2-40B4-BE49-F238E27FC236}">
                <a16:creationId xmlns:a16="http://schemas.microsoft.com/office/drawing/2014/main" id="{84964C0D-ED6D-450B-A222-39167CC9C563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370638" y="1540488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da-DK" err="1"/>
              <a:t>Insert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. </a:t>
            </a:r>
            <a:br>
              <a:rPr lang="da-DK"/>
            </a:br>
            <a:r>
              <a:rPr lang="da-DK" err="1"/>
              <a:t>Use</a:t>
            </a:r>
            <a:r>
              <a:rPr lang="da-DK"/>
              <a:t> </a:t>
            </a:r>
            <a:r>
              <a:rPr lang="da-DK" err="1"/>
              <a:t>Crop</a:t>
            </a:r>
            <a:r>
              <a:rPr lang="da-DK"/>
              <a:t>/Fit.  </a:t>
            </a:r>
            <a:br>
              <a:rPr lang="da-DK"/>
            </a:br>
            <a:r>
              <a:rPr lang="da-DK" err="1"/>
              <a:t>Left</a:t>
            </a:r>
            <a:r>
              <a:rPr lang="da-DK"/>
              <a:t> </a:t>
            </a:r>
            <a:r>
              <a:rPr lang="da-DK" err="1"/>
              <a:t>align</a:t>
            </a:r>
            <a:r>
              <a:rPr lang="da-DK"/>
              <a:t> with </a:t>
            </a:r>
            <a:br>
              <a:rPr lang="da-DK"/>
            </a:br>
            <a:r>
              <a:rPr lang="da-DK" err="1"/>
              <a:t>Subtitle</a:t>
            </a:r>
            <a:r>
              <a:rPr lang="da-DK"/>
              <a:t> </a:t>
            </a:r>
            <a:br>
              <a:rPr lang="da-DK"/>
            </a:br>
            <a:r>
              <a:rPr lang="da-DK"/>
              <a:t>placeholder</a:t>
            </a:r>
          </a:p>
        </p:txBody>
      </p:sp>
      <p:sp>
        <p:nvSpPr>
          <p:cNvPr id="39" name="Picture Placeholder 6">
            <a:extLst>
              <a:ext uri="{FF2B5EF4-FFF2-40B4-BE49-F238E27FC236}">
                <a16:creationId xmlns:a16="http://schemas.microsoft.com/office/drawing/2014/main" id="{2F21E808-CB4B-46D3-8384-F2985B649CF1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369081" y="3071239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da-DK" err="1"/>
              <a:t>Insert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. </a:t>
            </a:r>
            <a:br>
              <a:rPr lang="da-DK"/>
            </a:br>
            <a:r>
              <a:rPr lang="da-DK" err="1"/>
              <a:t>Use</a:t>
            </a:r>
            <a:r>
              <a:rPr lang="da-DK"/>
              <a:t> </a:t>
            </a:r>
            <a:r>
              <a:rPr lang="da-DK" err="1"/>
              <a:t>Crop</a:t>
            </a:r>
            <a:r>
              <a:rPr lang="da-DK"/>
              <a:t>/Fit.  </a:t>
            </a:r>
            <a:br>
              <a:rPr lang="da-DK"/>
            </a:br>
            <a:r>
              <a:rPr lang="da-DK" err="1"/>
              <a:t>Left</a:t>
            </a:r>
            <a:r>
              <a:rPr lang="da-DK"/>
              <a:t> </a:t>
            </a:r>
            <a:r>
              <a:rPr lang="da-DK" err="1"/>
              <a:t>align</a:t>
            </a:r>
            <a:r>
              <a:rPr lang="da-DK"/>
              <a:t> with </a:t>
            </a:r>
            <a:br>
              <a:rPr lang="da-DK"/>
            </a:br>
            <a:r>
              <a:rPr lang="da-DK" err="1"/>
              <a:t>Subtitle</a:t>
            </a:r>
            <a:r>
              <a:rPr lang="da-DK"/>
              <a:t> </a:t>
            </a:r>
            <a:br>
              <a:rPr lang="da-DK"/>
            </a:br>
            <a:r>
              <a:rPr lang="da-DK"/>
              <a:t>placeholder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988548A-34E5-4B1E-846F-E6EFFEA2CC57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6369081" y="4602278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da-DK" err="1"/>
              <a:t>Insert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. </a:t>
            </a:r>
            <a:br>
              <a:rPr lang="da-DK"/>
            </a:br>
            <a:r>
              <a:rPr lang="da-DK" err="1"/>
              <a:t>Use</a:t>
            </a:r>
            <a:r>
              <a:rPr lang="da-DK"/>
              <a:t> </a:t>
            </a:r>
            <a:r>
              <a:rPr lang="da-DK" err="1"/>
              <a:t>Crop</a:t>
            </a:r>
            <a:r>
              <a:rPr lang="da-DK"/>
              <a:t>/Fit.  </a:t>
            </a:r>
            <a:br>
              <a:rPr lang="da-DK"/>
            </a:br>
            <a:r>
              <a:rPr lang="da-DK" err="1"/>
              <a:t>Left</a:t>
            </a:r>
            <a:r>
              <a:rPr lang="da-DK"/>
              <a:t> </a:t>
            </a:r>
            <a:r>
              <a:rPr lang="da-DK" err="1"/>
              <a:t>align</a:t>
            </a:r>
            <a:r>
              <a:rPr lang="da-DK"/>
              <a:t> with </a:t>
            </a:r>
            <a:br>
              <a:rPr lang="da-DK"/>
            </a:br>
            <a:r>
              <a:rPr lang="da-DK" err="1"/>
              <a:t>Subtitle</a:t>
            </a:r>
            <a:r>
              <a:rPr lang="da-DK"/>
              <a:t> </a:t>
            </a:r>
            <a:br>
              <a:rPr lang="da-DK"/>
            </a:br>
            <a:r>
              <a:rPr lang="da-DK"/>
              <a:t>placeholder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59F410AC-9BD6-4F9A-A2CE-355F84B97CE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95162" y="1540200"/>
            <a:ext cx="4500000" cy="133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6A713E59-1747-4F11-84B1-535B75DEEF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395162" y="3071239"/>
            <a:ext cx="4500000" cy="133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339BDACB-DE68-479E-B621-BDEDCA8890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395162" y="4602278"/>
            <a:ext cx="4499999" cy="1332000"/>
          </a:xfrm>
        </p:spPr>
        <p:txBody>
          <a:bodyPr/>
          <a:lstStyle/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08CA7D1D-7EF5-4891-888B-935F28867BA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332600" y="1540200"/>
            <a:ext cx="4500000" cy="1332000"/>
          </a:xfrm>
        </p:spPr>
        <p:txBody>
          <a:bodyPr/>
          <a:lstStyle/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4A69F13-32AF-4F39-AC25-C1AE9BB10C3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32600" y="3071239"/>
            <a:ext cx="4500000" cy="1332000"/>
          </a:xfrm>
        </p:spPr>
        <p:txBody>
          <a:bodyPr/>
          <a:lstStyle/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3251C952-8A33-49CF-9AAD-6FCF6D1BB0A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332600" y="4602278"/>
            <a:ext cx="4500000" cy="1332000"/>
          </a:xfrm>
        </p:spPr>
        <p:txBody>
          <a:bodyPr/>
          <a:lstStyle/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CDD2BA-B706-4B3B-8D63-4B1BAEAF2D3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‹#›</a:t>
            </a:fld>
            <a:endParaRPr lang="da-DK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F49365-EA1E-4E8F-B6EE-1D526D002AB5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1286933" cy="0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AF3032B-7ECB-4177-9499-9A036B3F49E1}"/>
              </a:ext>
            </a:extLst>
          </p:cNvPr>
          <p:cNvCxnSpPr>
            <a:cxnSpLocks/>
          </p:cNvCxnSpPr>
          <p:nvPr/>
        </p:nvCxnSpPr>
        <p:spPr>
          <a:xfrm>
            <a:off x="11832600" y="6264000"/>
            <a:ext cx="359400" cy="0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8323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hdr="0" dt="0"/>
  <p:extLst>
    <p:ext uri="{DCECCB84-F9BA-43D5-87BE-67443E8EF086}">
      <p15:sldGuideLst xmlns:p15="http://schemas.microsoft.com/office/powerpoint/2012/main">
        <p15:guide id="4" orient="horz" pos="1111" userDrawn="1">
          <p15:clr>
            <a:srgbClr val="A4A3A4"/>
          </p15:clr>
        </p15:guide>
        <p15:guide id="5" pos="3716" userDrawn="1">
          <p15:clr>
            <a:srgbClr val="A4A3A4"/>
          </p15:clr>
        </p15:guide>
        <p15:guide id="6" pos="4013" userDrawn="1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A9B90C-7BC0-4FB7-9360-47D5BE4787E5}"/>
              </a:ext>
            </a:extLst>
          </p:cNvPr>
          <p:cNvSpPr/>
          <p:nvPr/>
        </p:nvSpPr>
        <p:spPr>
          <a:xfrm>
            <a:off x="0" y="3429000"/>
            <a:ext cx="6096000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9008606-37EB-42EF-8D91-B8BA41737358}"/>
              </a:ext>
            </a:extLst>
          </p:cNvPr>
          <p:cNvSpPr/>
          <p:nvPr/>
        </p:nvSpPr>
        <p:spPr>
          <a:xfrm>
            <a:off x="6096000" y="0"/>
            <a:ext cx="6096000" cy="3429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B8EEF2-F6F0-4392-9B4F-679635295F85}"/>
              </a:ext>
            </a:extLst>
          </p:cNvPr>
          <p:cNvSpPr/>
          <p:nvPr/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9C0EAD1-45A5-4F30-B47D-F5B98B70DCFC}"/>
              </a:ext>
            </a:extLst>
          </p:cNvPr>
          <p:cNvSpPr/>
          <p:nvPr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CA03142-9AF7-426C-B896-42F26271435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8000" y="425450"/>
            <a:ext cx="5040000" cy="85984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  <a:p>
            <a:pPr lvl="0"/>
            <a:endParaRPr lang="da-DK"/>
          </a:p>
          <a:p>
            <a:pPr lvl="0"/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 for illustratio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BCFF17A-8745-4131-80D1-814733A6C1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24000" y="425450"/>
            <a:ext cx="5040000" cy="25781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  <a:p>
            <a:pPr lvl="1"/>
            <a:endParaRPr lang="da-DK"/>
          </a:p>
          <a:p>
            <a:pPr lvl="2"/>
            <a:endParaRPr lang="da-DK"/>
          </a:p>
          <a:p>
            <a:pPr lvl="3"/>
            <a:endParaRPr lang="da-DK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C24E20B2-841C-4FB9-A8A0-913B9ED0B2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8000" y="3854450"/>
            <a:ext cx="5040000" cy="25781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  <a:lvl2pPr>
              <a:defRPr b="1">
                <a:solidFill>
                  <a:schemeClr val="accent5"/>
                </a:solidFill>
                <a:latin typeface="+mn-lt"/>
              </a:defRPr>
            </a:lvl2pPr>
            <a:lvl3pPr>
              <a:defRPr b="1">
                <a:solidFill>
                  <a:schemeClr val="accent5"/>
                </a:solidFill>
                <a:latin typeface="+mn-lt"/>
              </a:defRPr>
            </a:lvl3pPr>
            <a:lvl4pPr>
              <a:defRPr b="1">
                <a:solidFill>
                  <a:schemeClr val="accent5"/>
                </a:solidFill>
                <a:latin typeface="+mn-lt"/>
              </a:defRPr>
            </a:lvl4pPr>
            <a:lvl5pPr>
              <a:defRPr b="1">
                <a:solidFill>
                  <a:schemeClr val="accent5"/>
                </a:solidFill>
                <a:latin typeface="+mn-lt"/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  <a:p>
            <a:pPr lvl="1"/>
            <a:endParaRPr lang="da-DK"/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3E6EA14F-0168-4FFE-9AE8-ED3133679D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24000" y="3873358"/>
            <a:ext cx="5040000" cy="859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  <a:p>
            <a:pPr lvl="0"/>
            <a:endParaRPr lang="da-DK"/>
          </a:p>
          <a:p>
            <a:pPr lvl="0"/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 for illustration</a:t>
            </a:r>
          </a:p>
        </p:txBody>
      </p:sp>
      <p:sp>
        <p:nvSpPr>
          <p:cNvPr id="3" name="Date Placeholder 2" hidden="1"/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2763289C-9708-4506-9CC7-3B98B96B8FE2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28000" y="1534023"/>
            <a:ext cx="1080000" cy="1080000"/>
          </a:xfrm>
        </p:spPr>
        <p:txBody>
          <a:bodyPr wrap="none" lIns="0" tIns="1260000" rIns="0">
            <a:norm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da-DK" err="1"/>
              <a:t>Insert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. </a:t>
            </a:r>
            <a:r>
              <a:rPr lang="da-DK" err="1"/>
              <a:t>Use</a:t>
            </a:r>
            <a:r>
              <a:rPr lang="da-DK"/>
              <a:t> </a:t>
            </a:r>
            <a:r>
              <a:rPr lang="da-DK" err="1"/>
              <a:t>Crop</a:t>
            </a:r>
            <a:r>
              <a:rPr lang="da-DK"/>
              <a:t>/Fit. </a:t>
            </a:r>
            <a:r>
              <a:rPr lang="da-DK" err="1"/>
              <a:t>Left</a:t>
            </a:r>
            <a:r>
              <a:rPr lang="da-DK"/>
              <a:t> </a:t>
            </a:r>
            <a:r>
              <a:rPr lang="da-DK" err="1"/>
              <a:t>align</a:t>
            </a:r>
            <a:r>
              <a:rPr lang="da-DK"/>
              <a:t> with </a:t>
            </a:r>
            <a:r>
              <a:rPr lang="da-DK" err="1"/>
              <a:t>text</a:t>
            </a:r>
            <a:r>
              <a:rPr lang="da-DK"/>
              <a:t> </a:t>
            </a:r>
            <a:r>
              <a:rPr lang="da-DK" err="1"/>
              <a:t>above</a:t>
            </a:r>
            <a:endParaRPr lang="da-DK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7E939C39-BEBD-4340-BA07-06BD7F4DE82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624000" y="5039602"/>
            <a:ext cx="1080000" cy="1080000"/>
          </a:xfrm>
        </p:spPr>
        <p:txBody>
          <a:bodyPr wrap="none" lIns="0" tIns="1260000" rIns="0">
            <a:norm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da-DK" err="1"/>
              <a:t>Insert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. </a:t>
            </a:r>
            <a:r>
              <a:rPr lang="da-DK" err="1"/>
              <a:t>Use</a:t>
            </a:r>
            <a:r>
              <a:rPr lang="da-DK"/>
              <a:t> </a:t>
            </a:r>
            <a:r>
              <a:rPr lang="da-DK" err="1"/>
              <a:t>Crop</a:t>
            </a:r>
            <a:r>
              <a:rPr lang="da-DK"/>
              <a:t>/Fit. </a:t>
            </a:r>
            <a:r>
              <a:rPr lang="da-DK" err="1"/>
              <a:t>Left</a:t>
            </a:r>
            <a:r>
              <a:rPr lang="da-DK"/>
              <a:t> </a:t>
            </a:r>
            <a:r>
              <a:rPr lang="da-DK" err="1"/>
              <a:t>align</a:t>
            </a:r>
            <a:r>
              <a:rPr lang="da-DK"/>
              <a:t> with </a:t>
            </a:r>
            <a:r>
              <a:rPr lang="da-DK" err="1"/>
              <a:t>text</a:t>
            </a:r>
            <a:r>
              <a:rPr lang="da-DK"/>
              <a:t> </a:t>
            </a:r>
            <a:r>
              <a:rPr lang="da-DK" err="1"/>
              <a:t>above</a:t>
            </a:r>
            <a:r>
              <a:rPr lang="da-DK"/>
              <a:t> </a:t>
            </a:r>
            <a:br>
              <a:rPr lang="da-DK"/>
            </a:b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3147068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A9B90C-7BC0-4FB7-9360-47D5BE4787E5}"/>
              </a:ext>
            </a:extLst>
          </p:cNvPr>
          <p:cNvSpPr/>
          <p:nvPr/>
        </p:nvSpPr>
        <p:spPr>
          <a:xfrm>
            <a:off x="0" y="3429000"/>
            <a:ext cx="6096000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9008606-37EB-42EF-8D91-B8BA41737358}"/>
              </a:ext>
            </a:extLst>
          </p:cNvPr>
          <p:cNvSpPr/>
          <p:nvPr/>
        </p:nvSpPr>
        <p:spPr>
          <a:xfrm>
            <a:off x="6096000" y="0"/>
            <a:ext cx="6096000" cy="3429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B8EEF2-F6F0-4392-9B4F-679635295F85}"/>
              </a:ext>
            </a:extLst>
          </p:cNvPr>
          <p:cNvSpPr/>
          <p:nvPr/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9C0EAD1-45A5-4F30-B47D-F5B98B70DCFC}"/>
              </a:ext>
            </a:extLst>
          </p:cNvPr>
          <p:cNvSpPr/>
          <p:nvPr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C24E20B2-841C-4FB9-A8A0-913B9ED0B2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8160" y="935143"/>
            <a:ext cx="5040000" cy="19435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>
                <a:solidFill>
                  <a:schemeClr val="bg1"/>
                </a:solidFill>
                <a:latin typeface="+mj-lt"/>
              </a:defRPr>
            </a:lvl1pPr>
            <a:lvl2pPr marL="283050" indent="0">
              <a:buNone/>
              <a:defRPr b="1">
                <a:solidFill>
                  <a:schemeClr val="bg1"/>
                </a:solidFill>
                <a:latin typeface="+mj-lt"/>
              </a:defRPr>
            </a:lvl2pPr>
            <a:lvl3pPr>
              <a:defRPr b="1">
                <a:solidFill>
                  <a:schemeClr val="accent5"/>
                </a:solidFill>
                <a:latin typeface="+mn-lt"/>
              </a:defRPr>
            </a:lvl3pPr>
            <a:lvl4pPr>
              <a:defRPr b="1">
                <a:solidFill>
                  <a:schemeClr val="accent5"/>
                </a:solidFill>
                <a:latin typeface="+mn-lt"/>
              </a:defRPr>
            </a:lvl4pPr>
            <a:lvl5pPr>
              <a:defRPr b="1">
                <a:solidFill>
                  <a:schemeClr val="accent5"/>
                </a:solidFill>
                <a:latin typeface="+mn-lt"/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  <a:p>
            <a:pPr lvl="1"/>
            <a:endParaRPr lang="da-DK"/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3E6EA14F-0168-4FFE-9AE8-ED3133679D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8160" y="290265"/>
            <a:ext cx="5040000" cy="5564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headline</a:t>
            </a:r>
            <a:endParaRPr lang="da-DK"/>
          </a:p>
        </p:txBody>
      </p:sp>
      <p:sp>
        <p:nvSpPr>
          <p:cNvPr id="3" name="Date Placeholder 2" hidden="1"/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/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C9DFD288-50F6-4E9D-917A-04809BBF38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4160" y="935143"/>
            <a:ext cx="5040000" cy="19435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>
                <a:solidFill>
                  <a:schemeClr val="accent4"/>
                </a:solidFill>
                <a:latin typeface="+mj-lt"/>
              </a:defRPr>
            </a:lvl1pPr>
            <a:lvl2pPr marL="283050" indent="0">
              <a:buNone/>
              <a:defRPr b="1">
                <a:solidFill>
                  <a:schemeClr val="accent4"/>
                </a:solidFill>
                <a:latin typeface="+mj-lt"/>
              </a:defRPr>
            </a:lvl2pPr>
            <a:lvl3pPr>
              <a:defRPr b="1">
                <a:solidFill>
                  <a:schemeClr val="accent5"/>
                </a:solidFill>
                <a:latin typeface="+mn-lt"/>
              </a:defRPr>
            </a:lvl3pPr>
            <a:lvl4pPr>
              <a:defRPr b="1">
                <a:solidFill>
                  <a:schemeClr val="accent5"/>
                </a:solidFill>
                <a:latin typeface="+mn-lt"/>
              </a:defRPr>
            </a:lvl4pPr>
            <a:lvl5pPr>
              <a:defRPr b="1">
                <a:solidFill>
                  <a:schemeClr val="accent5"/>
                </a:solidFill>
                <a:latin typeface="+mn-lt"/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  <a:p>
            <a:pPr lvl="1"/>
            <a:endParaRPr lang="da-DK"/>
          </a:p>
        </p:txBody>
      </p:sp>
      <p:sp>
        <p:nvSpPr>
          <p:cNvPr id="14" name="Text Placeholder 19">
            <a:extLst>
              <a:ext uri="{FF2B5EF4-FFF2-40B4-BE49-F238E27FC236}">
                <a16:creationId xmlns:a16="http://schemas.microsoft.com/office/drawing/2014/main" id="{8D104A0E-D6A7-4050-B8BB-545587C2B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4160" y="290265"/>
            <a:ext cx="5040000" cy="5564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solidFill>
                  <a:schemeClr val="accent4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headline</a:t>
            </a:r>
            <a:endParaRPr lang="da-DK"/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81969273-AA5C-4E2D-9E6F-150A1EB28A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8160" y="4413249"/>
            <a:ext cx="5040000" cy="19435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>
                <a:solidFill>
                  <a:schemeClr val="accent1"/>
                </a:solidFill>
                <a:latin typeface="+mj-lt"/>
              </a:defRPr>
            </a:lvl1pPr>
            <a:lvl2pPr marL="283050" indent="0">
              <a:buNone/>
              <a:defRPr b="1">
                <a:solidFill>
                  <a:schemeClr val="accent1"/>
                </a:solidFill>
                <a:latin typeface="+mj-lt"/>
              </a:defRPr>
            </a:lvl2pPr>
            <a:lvl3pPr>
              <a:defRPr b="1">
                <a:solidFill>
                  <a:schemeClr val="accent5"/>
                </a:solidFill>
                <a:latin typeface="+mn-lt"/>
              </a:defRPr>
            </a:lvl3pPr>
            <a:lvl4pPr>
              <a:defRPr b="1">
                <a:solidFill>
                  <a:schemeClr val="accent5"/>
                </a:solidFill>
                <a:latin typeface="+mn-lt"/>
              </a:defRPr>
            </a:lvl4pPr>
            <a:lvl5pPr>
              <a:defRPr b="1">
                <a:solidFill>
                  <a:schemeClr val="accent5"/>
                </a:solidFill>
                <a:latin typeface="+mn-lt"/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  <a:p>
            <a:pPr lvl="1"/>
            <a:endParaRPr lang="da-DK"/>
          </a:p>
        </p:txBody>
      </p:sp>
      <p:sp>
        <p:nvSpPr>
          <p:cNvPr id="19" name="Text Placeholder 19">
            <a:extLst>
              <a:ext uri="{FF2B5EF4-FFF2-40B4-BE49-F238E27FC236}">
                <a16:creationId xmlns:a16="http://schemas.microsoft.com/office/drawing/2014/main" id="{84A14261-3A3C-483B-A717-0BCE6B571E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8160" y="3768371"/>
            <a:ext cx="5040000" cy="5564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solidFill>
                  <a:schemeClr val="accent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headline</a:t>
            </a:r>
            <a:endParaRPr lang="da-DK"/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403C6E91-75CD-4FD3-B07C-055327B2D0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4160" y="4413249"/>
            <a:ext cx="5040000" cy="19435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>
                <a:solidFill>
                  <a:schemeClr val="bg1"/>
                </a:solidFill>
                <a:latin typeface="+mj-lt"/>
              </a:defRPr>
            </a:lvl1pPr>
            <a:lvl2pPr marL="283050" indent="0">
              <a:buNone/>
              <a:defRPr b="1">
                <a:solidFill>
                  <a:schemeClr val="bg1"/>
                </a:solidFill>
                <a:latin typeface="+mj-lt"/>
              </a:defRPr>
            </a:lvl2pPr>
            <a:lvl3pPr>
              <a:defRPr b="1">
                <a:solidFill>
                  <a:schemeClr val="accent5"/>
                </a:solidFill>
                <a:latin typeface="+mn-lt"/>
              </a:defRPr>
            </a:lvl3pPr>
            <a:lvl4pPr>
              <a:defRPr b="1">
                <a:solidFill>
                  <a:schemeClr val="accent5"/>
                </a:solidFill>
                <a:latin typeface="+mn-lt"/>
              </a:defRPr>
            </a:lvl4pPr>
            <a:lvl5pPr>
              <a:defRPr b="1">
                <a:solidFill>
                  <a:schemeClr val="accent5"/>
                </a:solidFill>
                <a:latin typeface="+mn-lt"/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  <a:p>
            <a:pPr lvl="1"/>
            <a:endParaRPr lang="da-DK"/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D004EA1F-2220-4373-8C44-8D8CF9D43D5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64160" y="3768371"/>
            <a:ext cx="5040000" cy="5564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headlin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39384933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me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solidFill>
                  <a:schemeClr val="accent4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subtitle</a:t>
            </a:r>
            <a:endParaRPr lang="da-DK"/>
          </a:p>
        </p:txBody>
      </p:sp>
      <p:sp>
        <p:nvSpPr>
          <p:cNvPr id="10" name="Freeform: Shape 7431">
            <a:extLst>
              <a:ext uri="{FF2B5EF4-FFF2-40B4-BE49-F238E27FC236}">
                <a16:creationId xmlns:a16="http://schemas.microsoft.com/office/drawing/2014/main" id="{1954DBDB-8065-4224-B809-19548EB3D126}"/>
              </a:ext>
            </a:extLst>
          </p:cNvPr>
          <p:cNvSpPr/>
          <p:nvPr/>
        </p:nvSpPr>
        <p:spPr>
          <a:xfrm>
            <a:off x="3589422" y="2289826"/>
            <a:ext cx="5017763" cy="953908"/>
          </a:xfrm>
          <a:custGeom>
            <a:avLst/>
            <a:gdLst>
              <a:gd name="connsiteX0" fmla="*/ 10816 w 13304"/>
              <a:gd name="connsiteY0" fmla="*/ 0 h 10000"/>
              <a:gd name="connsiteX1" fmla="*/ 3304 w 13304"/>
              <a:gd name="connsiteY1" fmla="*/ 0 h 10000"/>
              <a:gd name="connsiteX2" fmla="*/ 4173 w 13304"/>
              <a:gd name="connsiteY2" fmla="*/ 3444 h 10000"/>
              <a:gd name="connsiteX3" fmla="*/ 0 w 13304"/>
              <a:gd name="connsiteY3" fmla="*/ 6889 h 10000"/>
              <a:gd name="connsiteX4" fmla="*/ 8378 w 13304"/>
              <a:gd name="connsiteY4" fmla="*/ 6889 h 10000"/>
              <a:gd name="connsiteX5" fmla="*/ 10781 w 13304"/>
              <a:gd name="connsiteY5" fmla="*/ 6889 h 10000"/>
              <a:gd name="connsiteX6" fmla="*/ 11559 w 13304"/>
              <a:gd name="connsiteY6" fmla="*/ 10000 h 10000"/>
              <a:gd name="connsiteX7" fmla="*/ 13304 w 13304"/>
              <a:gd name="connsiteY7" fmla="*/ 10000 h 10000"/>
              <a:gd name="connsiteX8" fmla="*/ 10816 w 13304"/>
              <a:gd name="connsiteY8" fmla="*/ 0 h 10000"/>
              <a:gd name="connsiteX0" fmla="*/ 10816 w 13304"/>
              <a:gd name="connsiteY0" fmla="*/ 50 h 10050"/>
              <a:gd name="connsiteX1" fmla="*/ 113 w 13304"/>
              <a:gd name="connsiteY1" fmla="*/ 0 h 10050"/>
              <a:gd name="connsiteX2" fmla="*/ 4173 w 13304"/>
              <a:gd name="connsiteY2" fmla="*/ 3494 h 10050"/>
              <a:gd name="connsiteX3" fmla="*/ 0 w 13304"/>
              <a:gd name="connsiteY3" fmla="*/ 6939 h 10050"/>
              <a:gd name="connsiteX4" fmla="*/ 8378 w 13304"/>
              <a:gd name="connsiteY4" fmla="*/ 6939 h 10050"/>
              <a:gd name="connsiteX5" fmla="*/ 10781 w 13304"/>
              <a:gd name="connsiteY5" fmla="*/ 6939 h 10050"/>
              <a:gd name="connsiteX6" fmla="*/ 11559 w 13304"/>
              <a:gd name="connsiteY6" fmla="*/ 10050 h 10050"/>
              <a:gd name="connsiteX7" fmla="*/ 13304 w 13304"/>
              <a:gd name="connsiteY7" fmla="*/ 10050 h 10050"/>
              <a:gd name="connsiteX8" fmla="*/ 10816 w 13304"/>
              <a:gd name="connsiteY8" fmla="*/ 50 h 10050"/>
              <a:gd name="connsiteX0" fmla="*/ 10816 w 13304"/>
              <a:gd name="connsiteY0" fmla="*/ 50 h 10050"/>
              <a:gd name="connsiteX1" fmla="*/ 113 w 13304"/>
              <a:gd name="connsiteY1" fmla="*/ 0 h 10050"/>
              <a:gd name="connsiteX2" fmla="*/ 919 w 13304"/>
              <a:gd name="connsiteY2" fmla="*/ 3444 h 10050"/>
              <a:gd name="connsiteX3" fmla="*/ 0 w 13304"/>
              <a:gd name="connsiteY3" fmla="*/ 6939 h 10050"/>
              <a:gd name="connsiteX4" fmla="*/ 8378 w 13304"/>
              <a:gd name="connsiteY4" fmla="*/ 6939 h 10050"/>
              <a:gd name="connsiteX5" fmla="*/ 10781 w 13304"/>
              <a:gd name="connsiteY5" fmla="*/ 6939 h 10050"/>
              <a:gd name="connsiteX6" fmla="*/ 11559 w 13304"/>
              <a:gd name="connsiteY6" fmla="*/ 10050 h 10050"/>
              <a:gd name="connsiteX7" fmla="*/ 13304 w 13304"/>
              <a:gd name="connsiteY7" fmla="*/ 10050 h 10050"/>
              <a:gd name="connsiteX8" fmla="*/ 10816 w 13304"/>
              <a:gd name="connsiteY8" fmla="*/ 50 h 10050"/>
              <a:gd name="connsiteX0" fmla="*/ 10816 w 13304"/>
              <a:gd name="connsiteY0" fmla="*/ 0 h 10000"/>
              <a:gd name="connsiteX1" fmla="*/ 63 w 13304"/>
              <a:gd name="connsiteY1" fmla="*/ 0 h 10000"/>
              <a:gd name="connsiteX2" fmla="*/ 919 w 13304"/>
              <a:gd name="connsiteY2" fmla="*/ 3394 h 10000"/>
              <a:gd name="connsiteX3" fmla="*/ 0 w 13304"/>
              <a:gd name="connsiteY3" fmla="*/ 6889 h 10000"/>
              <a:gd name="connsiteX4" fmla="*/ 8378 w 13304"/>
              <a:gd name="connsiteY4" fmla="*/ 6889 h 10000"/>
              <a:gd name="connsiteX5" fmla="*/ 10781 w 13304"/>
              <a:gd name="connsiteY5" fmla="*/ 6889 h 10000"/>
              <a:gd name="connsiteX6" fmla="*/ 11559 w 13304"/>
              <a:gd name="connsiteY6" fmla="*/ 10000 h 10000"/>
              <a:gd name="connsiteX7" fmla="*/ 13304 w 13304"/>
              <a:gd name="connsiteY7" fmla="*/ 10000 h 10000"/>
              <a:gd name="connsiteX8" fmla="*/ 10816 w 13304"/>
              <a:gd name="connsiteY8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304" h="10000">
                <a:moveTo>
                  <a:pt x="10816" y="0"/>
                </a:moveTo>
                <a:lnTo>
                  <a:pt x="63" y="0"/>
                </a:lnTo>
                <a:lnTo>
                  <a:pt x="919" y="3394"/>
                </a:lnTo>
                <a:lnTo>
                  <a:pt x="0" y="6889"/>
                </a:lnTo>
                <a:lnTo>
                  <a:pt x="8378" y="6889"/>
                </a:lnTo>
                <a:lnTo>
                  <a:pt x="10781" y="6889"/>
                </a:lnTo>
                <a:cubicBezTo>
                  <a:pt x="11216" y="6917"/>
                  <a:pt x="11559" y="8306"/>
                  <a:pt x="11559" y="10000"/>
                </a:cubicBezTo>
                <a:lnTo>
                  <a:pt x="13304" y="10000"/>
                </a:lnTo>
                <a:cubicBezTo>
                  <a:pt x="13304" y="4528"/>
                  <a:pt x="12190" y="56"/>
                  <a:pt x="10816" y="0"/>
                </a:cubicBezTo>
                <a:close/>
              </a:path>
            </a:pathLst>
          </a:custGeom>
          <a:solidFill>
            <a:schemeClr val="bg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1" name="Freeform: Shape 7432">
            <a:extLst>
              <a:ext uri="{FF2B5EF4-FFF2-40B4-BE49-F238E27FC236}">
                <a16:creationId xmlns:a16="http://schemas.microsoft.com/office/drawing/2014/main" id="{163A1AE6-7163-4E61-B438-D7538E3D291D}"/>
              </a:ext>
            </a:extLst>
          </p:cNvPr>
          <p:cNvSpPr/>
          <p:nvPr/>
        </p:nvSpPr>
        <p:spPr>
          <a:xfrm>
            <a:off x="1828932" y="2290839"/>
            <a:ext cx="1752312" cy="65605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660" h="248">
                <a:moveTo>
                  <a:pt x="660" y="124"/>
                </a:moveTo>
                <a:lnTo>
                  <a:pt x="536" y="0"/>
                </a:lnTo>
                <a:lnTo>
                  <a:pt x="0" y="0"/>
                </a:lnTo>
                <a:lnTo>
                  <a:pt x="124" y="124"/>
                </a:lnTo>
                <a:lnTo>
                  <a:pt x="0" y="248"/>
                </a:lnTo>
                <a:lnTo>
                  <a:pt x="536" y="248"/>
                </a:lnTo>
                <a:close/>
              </a:path>
            </a:pathLst>
          </a:custGeom>
          <a:solidFill>
            <a:schemeClr val="accent2"/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2" name="Freeform: Shape 7433">
            <a:extLst>
              <a:ext uri="{FF2B5EF4-FFF2-40B4-BE49-F238E27FC236}">
                <a16:creationId xmlns:a16="http://schemas.microsoft.com/office/drawing/2014/main" id="{49585EA3-0E22-422D-8464-2588246E6110}"/>
              </a:ext>
            </a:extLst>
          </p:cNvPr>
          <p:cNvSpPr/>
          <p:nvPr/>
        </p:nvSpPr>
        <p:spPr>
          <a:xfrm>
            <a:off x="3340328" y="2289826"/>
            <a:ext cx="478888" cy="65605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81" h="248">
                <a:moveTo>
                  <a:pt x="181" y="124"/>
                </a:moveTo>
                <a:lnTo>
                  <a:pt x="57" y="0"/>
                </a:lnTo>
                <a:lnTo>
                  <a:pt x="0" y="0"/>
                </a:lnTo>
                <a:lnTo>
                  <a:pt x="125" y="124"/>
                </a:lnTo>
                <a:lnTo>
                  <a:pt x="0" y="248"/>
                </a:lnTo>
                <a:lnTo>
                  <a:pt x="57" y="248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3" name="Freeform: Shape 7434">
            <a:extLst>
              <a:ext uri="{FF2B5EF4-FFF2-40B4-BE49-F238E27FC236}">
                <a16:creationId xmlns:a16="http://schemas.microsoft.com/office/drawing/2014/main" id="{83D91EAF-1DCE-46BF-B2EA-D3E993E5800E}"/>
              </a:ext>
            </a:extLst>
          </p:cNvPr>
          <p:cNvSpPr/>
          <p:nvPr/>
        </p:nvSpPr>
        <p:spPr>
          <a:xfrm>
            <a:off x="8095399" y="4795672"/>
            <a:ext cx="468056" cy="659147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77" h="249">
                <a:moveTo>
                  <a:pt x="53" y="0"/>
                </a:moveTo>
                <a:lnTo>
                  <a:pt x="0" y="0"/>
                </a:lnTo>
                <a:lnTo>
                  <a:pt x="124" y="124"/>
                </a:lnTo>
                <a:lnTo>
                  <a:pt x="0" y="249"/>
                </a:lnTo>
                <a:lnTo>
                  <a:pt x="53" y="249"/>
                </a:lnTo>
                <a:lnTo>
                  <a:pt x="177" y="124"/>
                </a:lnTo>
                <a:close/>
              </a:path>
            </a:pathLst>
          </a:custGeom>
          <a:solidFill>
            <a:schemeClr val="accent1"/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4" name="Freeform: Shape 7435">
            <a:extLst>
              <a:ext uri="{FF2B5EF4-FFF2-40B4-BE49-F238E27FC236}">
                <a16:creationId xmlns:a16="http://schemas.microsoft.com/office/drawing/2014/main" id="{DE934865-3D90-4A87-8545-42420C2D9948}"/>
              </a:ext>
            </a:extLst>
          </p:cNvPr>
          <p:cNvSpPr/>
          <p:nvPr/>
        </p:nvSpPr>
        <p:spPr>
          <a:xfrm>
            <a:off x="2941354" y="3243734"/>
            <a:ext cx="5660007" cy="125408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2130" h="473">
                <a:moveTo>
                  <a:pt x="2130" y="0"/>
                </a:moveTo>
                <a:lnTo>
                  <a:pt x="1881" y="0"/>
                </a:lnTo>
                <a:cubicBezTo>
                  <a:pt x="1881" y="62"/>
                  <a:pt x="1832" y="112"/>
                  <a:pt x="1770" y="112"/>
                </a:cubicBezTo>
                <a:lnTo>
                  <a:pt x="1427" y="112"/>
                </a:lnTo>
                <a:lnTo>
                  <a:pt x="360" y="112"/>
                </a:lnTo>
                <a:lnTo>
                  <a:pt x="352" y="112"/>
                </a:lnTo>
                <a:lnTo>
                  <a:pt x="352" y="113"/>
                </a:lnTo>
                <a:cubicBezTo>
                  <a:pt x="157" y="117"/>
                  <a:pt x="0" y="277"/>
                  <a:pt x="0" y="473"/>
                </a:cubicBezTo>
                <a:lnTo>
                  <a:pt x="248" y="473"/>
                </a:lnTo>
                <a:cubicBezTo>
                  <a:pt x="248" y="411"/>
                  <a:pt x="298" y="361"/>
                  <a:pt x="360" y="361"/>
                </a:cubicBezTo>
                <a:lnTo>
                  <a:pt x="703" y="361"/>
                </a:lnTo>
                <a:lnTo>
                  <a:pt x="1770" y="361"/>
                </a:lnTo>
                <a:cubicBezTo>
                  <a:pt x="1969" y="361"/>
                  <a:pt x="2130" y="199"/>
                  <a:pt x="2130" y="0"/>
                </a:cubicBezTo>
                <a:close/>
              </a:path>
            </a:pathLst>
          </a:custGeom>
          <a:solidFill>
            <a:schemeClr val="bg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5" name="Freeform: Shape 7436">
            <a:extLst>
              <a:ext uri="{FF2B5EF4-FFF2-40B4-BE49-F238E27FC236}">
                <a16:creationId xmlns:a16="http://schemas.microsoft.com/office/drawing/2014/main" id="{2A8F5714-E4D5-4865-ACC8-10BEADD88251}"/>
              </a:ext>
            </a:extLst>
          </p:cNvPr>
          <p:cNvSpPr/>
          <p:nvPr/>
        </p:nvSpPr>
        <p:spPr>
          <a:xfrm>
            <a:off x="2940267" y="4497817"/>
            <a:ext cx="5375305" cy="957002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2023" h="361">
                <a:moveTo>
                  <a:pt x="1899" y="112"/>
                </a:moveTo>
                <a:lnTo>
                  <a:pt x="703" y="112"/>
                </a:lnTo>
                <a:lnTo>
                  <a:pt x="365" y="112"/>
                </a:lnTo>
                <a:lnTo>
                  <a:pt x="360" y="112"/>
                </a:lnTo>
                <a:cubicBezTo>
                  <a:pt x="298" y="112"/>
                  <a:pt x="248" y="62"/>
                  <a:pt x="248" y="0"/>
                </a:cubicBezTo>
                <a:lnTo>
                  <a:pt x="0" y="0"/>
                </a:lnTo>
                <a:cubicBezTo>
                  <a:pt x="0" y="199"/>
                  <a:pt x="161" y="361"/>
                  <a:pt x="360" y="361"/>
                </a:cubicBezTo>
                <a:cubicBezTo>
                  <a:pt x="362" y="361"/>
                  <a:pt x="364" y="360"/>
                  <a:pt x="365" y="360"/>
                </a:cubicBezTo>
                <a:lnTo>
                  <a:pt x="365" y="361"/>
                </a:lnTo>
                <a:lnTo>
                  <a:pt x="1899" y="361"/>
                </a:lnTo>
                <a:lnTo>
                  <a:pt x="2023" y="236"/>
                </a:lnTo>
                <a:close/>
              </a:path>
            </a:pathLst>
          </a:custGeom>
          <a:solidFill>
            <a:schemeClr val="bg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7F1A13-94A3-4965-BF53-47EA7D7DA0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3013" y="2286732"/>
            <a:ext cx="1000588" cy="658627"/>
          </a:xfrm>
          <a:prstGeom prst="rect">
            <a:avLst/>
          </a:prstGeom>
        </p:spPr>
        <p:txBody>
          <a:bodyPr lIns="0" tIns="72000" rIns="0" bIns="72000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F2C5D21-9E46-4D38-A03E-22CFCF181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01361" y="4768777"/>
            <a:ext cx="2208325" cy="1887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latin typeface="+mn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292DCBC-07FD-4465-94D4-ADF57C0A29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1361" y="4987896"/>
            <a:ext cx="2208325" cy="10455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0630EBE-9039-4521-9E1F-C84C23ACC1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3246" y="4300114"/>
            <a:ext cx="1438275" cy="6508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da-DK"/>
              <a:t>35%</a:t>
            </a:r>
          </a:p>
        </p:txBody>
      </p:sp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4F54025-0825-4A2D-BBF9-2B05CBE411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95399" y="2953781"/>
            <a:ext cx="1438275" cy="6508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da-DK"/>
              <a:t>35%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AF8CE11-293C-42C9-97D0-D448CBF3EF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59970" y="1803420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987F7F5-68C3-4D38-AA24-8282756AB25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5387" y="3060982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452DEAA-C428-4391-98C5-14016843BC6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9970" y="4313985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1F53822-CDD6-4063-8132-19DCE17409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42771" y="4794659"/>
            <a:ext cx="3771620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5D90B23A-71D3-4CD4-827D-65A236B0634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28189" y="2288293"/>
            <a:ext cx="3771619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F6B2D7C-9DE2-4C43-9EB8-24E8FE97518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28189" y="3541262"/>
            <a:ext cx="3771620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2BEFA90D-D6E4-4EDC-922E-B12E9CF6A8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468001"/>
            <a:ext cx="11473200" cy="53028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headline</a:t>
            </a:r>
            <a:endParaRPr lang="da-DK"/>
          </a:p>
        </p:txBody>
      </p:sp>
      <p:sp>
        <p:nvSpPr>
          <p:cNvPr id="35" name="Footer Placeholder 4">
            <a:extLst>
              <a:ext uri="{FF2B5EF4-FFF2-40B4-BE49-F238E27FC236}">
                <a16:creationId xmlns:a16="http://schemas.microsoft.com/office/drawing/2014/main" id="{15C7A406-EEAE-45A0-B148-EFB6F249F59E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02B2F7F1-05EF-4074-9D69-78BA224E38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8AE3BEA-AC03-4096-8D51-15CF8E4E80CA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1286933" cy="0"/>
          </a:xfrm>
          <a:prstGeom prst="line">
            <a:avLst/>
          </a:prstGeom>
          <a:ln w="254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23E0D31C-61B1-4628-B226-CB6736613010}"/>
              </a:ext>
            </a:extLst>
          </p:cNvPr>
          <p:cNvCxnSpPr>
            <a:cxnSpLocks/>
          </p:cNvCxnSpPr>
          <p:nvPr/>
        </p:nvCxnSpPr>
        <p:spPr>
          <a:xfrm>
            <a:off x="11832600" y="6264000"/>
            <a:ext cx="359400" cy="0"/>
          </a:xfrm>
          <a:prstGeom prst="line">
            <a:avLst/>
          </a:prstGeom>
          <a:ln w="762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02755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me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solidFill>
                  <a:schemeClr val="accent4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subtitle</a:t>
            </a:r>
            <a:endParaRPr lang="da-DK"/>
          </a:p>
        </p:txBody>
      </p: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2BEFA90D-D6E4-4EDC-922E-B12E9CF6A8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468000"/>
            <a:ext cx="11473200" cy="517089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headline</a:t>
            </a:r>
            <a:endParaRPr lang="da-DK"/>
          </a:p>
        </p:txBody>
      </p:sp>
      <p:sp>
        <p:nvSpPr>
          <p:cNvPr id="35" name="Footer Placeholder 4">
            <a:extLst>
              <a:ext uri="{FF2B5EF4-FFF2-40B4-BE49-F238E27FC236}">
                <a16:creationId xmlns:a16="http://schemas.microsoft.com/office/drawing/2014/main" id="{15C7A406-EEAE-45A0-B148-EFB6F249F59E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02B2F7F1-05EF-4074-9D69-78BA224E38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0D5E480-A1CB-4736-BA22-FB9C7E588C02}"/>
              </a:ext>
            </a:extLst>
          </p:cNvPr>
          <p:cNvCxnSpPr>
            <a:cxnSpLocks/>
          </p:cNvCxnSpPr>
          <p:nvPr/>
        </p:nvCxnSpPr>
        <p:spPr>
          <a:xfrm>
            <a:off x="359400" y="2058487"/>
            <a:ext cx="11473200" cy="0"/>
          </a:xfrm>
          <a:prstGeom prst="line">
            <a:avLst/>
          </a:prstGeom>
          <a:ln w="12700">
            <a:solidFill>
              <a:schemeClr val="accent5"/>
            </a:solidFill>
            <a:headEnd type="oval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2F88611-6229-45AF-B65C-691CE28299CC}"/>
              </a:ext>
            </a:extLst>
          </p:cNvPr>
          <p:cNvCxnSpPr>
            <a:cxnSpLocks/>
          </p:cNvCxnSpPr>
          <p:nvPr/>
        </p:nvCxnSpPr>
        <p:spPr>
          <a:xfrm>
            <a:off x="1263300" y="2058487"/>
            <a:ext cx="0" cy="480906"/>
          </a:xfrm>
          <a:prstGeom prst="line">
            <a:avLst/>
          </a:prstGeom>
          <a:ln w="12700">
            <a:solidFill>
              <a:schemeClr val="accent5"/>
            </a:solidFill>
            <a:headEnd type="oval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2500992E-70BD-41F5-9273-5EF4E07E1020}"/>
              </a:ext>
            </a:extLst>
          </p:cNvPr>
          <p:cNvCxnSpPr>
            <a:cxnSpLocks/>
          </p:cNvCxnSpPr>
          <p:nvPr/>
        </p:nvCxnSpPr>
        <p:spPr>
          <a:xfrm>
            <a:off x="3190313" y="2058487"/>
            <a:ext cx="0" cy="480906"/>
          </a:xfrm>
          <a:prstGeom prst="line">
            <a:avLst/>
          </a:prstGeom>
          <a:ln w="12700">
            <a:solidFill>
              <a:schemeClr val="accent5"/>
            </a:solidFill>
            <a:headEnd type="oval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C7FD88FF-08A4-45C0-A6DC-9734DD8FA4FC}"/>
              </a:ext>
            </a:extLst>
          </p:cNvPr>
          <p:cNvCxnSpPr>
            <a:cxnSpLocks/>
          </p:cNvCxnSpPr>
          <p:nvPr/>
        </p:nvCxnSpPr>
        <p:spPr>
          <a:xfrm>
            <a:off x="5117325" y="2058487"/>
            <a:ext cx="0" cy="480906"/>
          </a:xfrm>
          <a:prstGeom prst="line">
            <a:avLst/>
          </a:prstGeom>
          <a:ln w="12700">
            <a:solidFill>
              <a:schemeClr val="accent5"/>
            </a:solidFill>
            <a:headEnd type="oval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B54BB4BB-2E63-4394-90C3-6D3550EB5CAB}"/>
              </a:ext>
            </a:extLst>
          </p:cNvPr>
          <p:cNvCxnSpPr>
            <a:cxnSpLocks/>
          </p:cNvCxnSpPr>
          <p:nvPr/>
        </p:nvCxnSpPr>
        <p:spPr>
          <a:xfrm>
            <a:off x="7057885" y="2058487"/>
            <a:ext cx="0" cy="480906"/>
          </a:xfrm>
          <a:prstGeom prst="line">
            <a:avLst/>
          </a:prstGeom>
          <a:ln w="12700">
            <a:solidFill>
              <a:schemeClr val="accent5"/>
            </a:solidFill>
            <a:headEnd type="oval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BA369B03-A851-4F11-B927-515C52070A42}"/>
              </a:ext>
            </a:extLst>
          </p:cNvPr>
          <p:cNvCxnSpPr>
            <a:cxnSpLocks/>
          </p:cNvCxnSpPr>
          <p:nvPr/>
        </p:nvCxnSpPr>
        <p:spPr>
          <a:xfrm>
            <a:off x="8984898" y="2058487"/>
            <a:ext cx="0" cy="480906"/>
          </a:xfrm>
          <a:prstGeom prst="line">
            <a:avLst/>
          </a:prstGeom>
          <a:ln w="12700">
            <a:solidFill>
              <a:schemeClr val="accent5"/>
            </a:solidFill>
            <a:headEnd type="oval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513FF823-DFA7-412E-996A-EED30838FB13}"/>
              </a:ext>
            </a:extLst>
          </p:cNvPr>
          <p:cNvCxnSpPr>
            <a:cxnSpLocks/>
          </p:cNvCxnSpPr>
          <p:nvPr/>
        </p:nvCxnSpPr>
        <p:spPr>
          <a:xfrm>
            <a:off x="10945778" y="2058487"/>
            <a:ext cx="0" cy="480906"/>
          </a:xfrm>
          <a:prstGeom prst="line">
            <a:avLst/>
          </a:prstGeom>
          <a:ln w="12700">
            <a:solidFill>
              <a:schemeClr val="accent5"/>
            </a:solidFill>
            <a:headEnd type="oval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95E90BCB-6853-42B1-A58E-CB7253B801E8}"/>
              </a:ext>
            </a:extLst>
          </p:cNvPr>
          <p:cNvGrpSpPr/>
          <p:nvPr/>
        </p:nvGrpSpPr>
        <p:grpSpPr>
          <a:xfrm>
            <a:off x="359400" y="2295553"/>
            <a:ext cx="11473200" cy="3357873"/>
            <a:chOff x="438150" y="1937173"/>
            <a:chExt cx="11638198" cy="3357873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791563F-A2FE-40F4-A26C-A9BCDF2B0EFB}"/>
                </a:ext>
              </a:extLst>
            </p:cNvPr>
            <p:cNvGrpSpPr/>
            <p:nvPr/>
          </p:nvGrpSpPr>
          <p:grpSpPr>
            <a:xfrm>
              <a:off x="438150" y="1937173"/>
              <a:ext cx="1833798" cy="3353430"/>
              <a:chOff x="438150" y="1937173"/>
              <a:chExt cx="1833798" cy="3353430"/>
            </a:xfrm>
          </p:grpSpPr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D5D8F871-58B9-4C28-B899-DD9C2A09CE14}"/>
                  </a:ext>
                </a:extLst>
              </p:cNvPr>
              <p:cNvSpPr/>
              <p:nvPr/>
            </p:nvSpPr>
            <p:spPr>
              <a:xfrm>
                <a:off x="438150" y="1937173"/>
                <a:ext cx="1833798" cy="3353430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5" name="Straight Connector 4">
                <a:extLst>
                  <a:ext uri="{FF2B5EF4-FFF2-40B4-BE49-F238E27FC236}">
                    <a16:creationId xmlns:a16="http://schemas.microsoft.com/office/drawing/2014/main" id="{FEEC9AB9-423C-4730-BDD7-1C062744582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51905" y="5093547"/>
                <a:ext cx="413173" cy="0"/>
              </a:xfrm>
              <a:prstGeom prst="line">
                <a:avLst/>
              </a:prstGeom>
              <a:ln w="762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DD4E84D3-F883-4284-AC0D-41121E884798}"/>
                </a:ext>
              </a:extLst>
            </p:cNvPr>
            <p:cNvGrpSpPr/>
            <p:nvPr/>
          </p:nvGrpSpPr>
          <p:grpSpPr>
            <a:xfrm>
              <a:off x="2399030" y="1941616"/>
              <a:ext cx="1833798" cy="3353430"/>
              <a:chOff x="438150" y="1937173"/>
              <a:chExt cx="1833798" cy="3353430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B039E816-C332-468D-A352-6DACF5DBFB1B}"/>
                  </a:ext>
                </a:extLst>
              </p:cNvPr>
              <p:cNvSpPr/>
              <p:nvPr/>
            </p:nvSpPr>
            <p:spPr>
              <a:xfrm>
                <a:off x="438150" y="1937173"/>
                <a:ext cx="1833798" cy="335343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DB32A852-59AC-4CE5-9326-A96EC8205B2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51905" y="5093547"/>
                <a:ext cx="413173" cy="0"/>
              </a:xfrm>
              <a:prstGeom prst="line">
                <a:avLst/>
              </a:prstGeom>
              <a:ln w="762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8BB1B673-2677-4D6E-B31E-A282FBAD8F46}"/>
                </a:ext>
              </a:extLst>
            </p:cNvPr>
            <p:cNvGrpSpPr/>
            <p:nvPr/>
          </p:nvGrpSpPr>
          <p:grpSpPr>
            <a:xfrm>
              <a:off x="4359910" y="1937173"/>
              <a:ext cx="1833798" cy="3353430"/>
              <a:chOff x="438150" y="1937173"/>
              <a:chExt cx="1833798" cy="3353430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99EA1B50-B131-4EBA-97A2-B46D1F154E26}"/>
                  </a:ext>
                </a:extLst>
              </p:cNvPr>
              <p:cNvSpPr/>
              <p:nvPr/>
            </p:nvSpPr>
            <p:spPr>
              <a:xfrm>
                <a:off x="438150" y="1937173"/>
                <a:ext cx="1833798" cy="335343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A6294454-2FD2-49EF-B930-5C35D7CAF42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51905" y="5093547"/>
                <a:ext cx="413173" cy="0"/>
              </a:xfrm>
              <a:prstGeom prst="line">
                <a:avLst/>
              </a:prstGeom>
              <a:ln w="76200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B345F779-CC91-4E48-ADEB-DD75AD81DF97}"/>
                </a:ext>
              </a:extLst>
            </p:cNvPr>
            <p:cNvGrpSpPr/>
            <p:nvPr/>
          </p:nvGrpSpPr>
          <p:grpSpPr>
            <a:xfrm>
              <a:off x="6320790" y="1937173"/>
              <a:ext cx="1833798" cy="3353430"/>
              <a:chOff x="438150" y="1937173"/>
              <a:chExt cx="1833798" cy="3353430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6E0F4CCB-FEDC-4402-AB36-E5C97ED6FB45}"/>
                  </a:ext>
                </a:extLst>
              </p:cNvPr>
              <p:cNvSpPr/>
              <p:nvPr/>
            </p:nvSpPr>
            <p:spPr>
              <a:xfrm>
                <a:off x="438150" y="1937173"/>
                <a:ext cx="1833798" cy="335343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BA2AEB1D-930A-4E4C-9CA3-26078A8EAF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51905" y="5093547"/>
                <a:ext cx="413173" cy="0"/>
              </a:xfrm>
              <a:prstGeom prst="line">
                <a:avLst/>
              </a:prstGeom>
              <a:ln w="762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9CD10A98-FF7E-430A-AD22-DABD9C1FE4CD}"/>
                </a:ext>
              </a:extLst>
            </p:cNvPr>
            <p:cNvGrpSpPr/>
            <p:nvPr/>
          </p:nvGrpSpPr>
          <p:grpSpPr>
            <a:xfrm>
              <a:off x="8281670" y="1937173"/>
              <a:ext cx="1833798" cy="3353430"/>
              <a:chOff x="438150" y="1937173"/>
              <a:chExt cx="1833798" cy="3353430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50943C73-4A55-4C29-8FAE-575DD33DB3A0}"/>
                  </a:ext>
                </a:extLst>
              </p:cNvPr>
              <p:cNvSpPr/>
              <p:nvPr/>
            </p:nvSpPr>
            <p:spPr>
              <a:xfrm>
                <a:off x="438150" y="1937173"/>
                <a:ext cx="1833798" cy="335343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2EDDE7D9-5B79-4972-84A0-8D2379995E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58775" y="5093547"/>
                <a:ext cx="413173" cy="0"/>
              </a:xfrm>
              <a:prstGeom prst="line">
                <a:avLst/>
              </a:prstGeom>
              <a:ln w="762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B0F89BA8-AA73-425E-8A16-37EF3397B115}"/>
                </a:ext>
              </a:extLst>
            </p:cNvPr>
            <p:cNvGrpSpPr/>
            <p:nvPr/>
          </p:nvGrpSpPr>
          <p:grpSpPr>
            <a:xfrm>
              <a:off x="10242550" y="1937173"/>
              <a:ext cx="1833798" cy="3353430"/>
              <a:chOff x="438150" y="1937173"/>
              <a:chExt cx="1833798" cy="3353430"/>
            </a:xfrm>
          </p:grpSpPr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74A09345-E64E-4806-B9D0-F2F95DD724D4}"/>
                  </a:ext>
                </a:extLst>
              </p:cNvPr>
              <p:cNvSpPr/>
              <p:nvPr/>
            </p:nvSpPr>
            <p:spPr>
              <a:xfrm>
                <a:off x="438150" y="1937173"/>
                <a:ext cx="1833798" cy="335343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395E0F48-0992-44B2-B6D9-59B68811590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58775" y="5093547"/>
                <a:ext cx="413173" cy="0"/>
              </a:xfrm>
              <a:prstGeom prst="line">
                <a:avLst/>
              </a:prstGeom>
              <a:ln w="762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8A252B4D-EE39-491F-A829-8783C01EBD6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2224" y="2384223"/>
            <a:ext cx="1580707" cy="36988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400">
                <a:solidFill>
                  <a:schemeClr val="tx2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FFED530C-3C02-4B2D-8732-0C7AD64289B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4795" y="2863630"/>
            <a:ext cx="1580707" cy="2391241"/>
          </a:xfrm>
          <a:prstGeom prst="rect">
            <a:avLst/>
          </a:prstGeom>
        </p:spPr>
        <p:txBody>
          <a:bodyPr lIns="0" tIns="36000" rIns="0" bIns="0" anchor="t"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721ED57A-71DB-4FB3-AD63-0B44B821A23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389235" y="2389631"/>
            <a:ext cx="1580707" cy="36988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400">
                <a:solidFill>
                  <a:schemeClr val="tx2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6BDB9F7C-598D-434E-8DB2-6CE0CC4F54E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401806" y="2869038"/>
            <a:ext cx="1580707" cy="2391241"/>
          </a:xfrm>
          <a:prstGeom prst="rect">
            <a:avLst/>
          </a:prstGeom>
        </p:spPr>
        <p:txBody>
          <a:bodyPr lIns="0" tIns="36000" rIns="0" bIns="0" anchor="t"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FEDCE8C6-D962-41C9-BBF6-951A4E54310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29794" y="2384223"/>
            <a:ext cx="1580707" cy="36988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400">
                <a:solidFill>
                  <a:schemeClr val="tx2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F1D5B88D-9CB8-4C49-9D78-AF3F258F043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42365" y="2863630"/>
            <a:ext cx="1580707" cy="2391241"/>
          </a:xfrm>
          <a:prstGeom prst="rect">
            <a:avLst/>
          </a:prstGeom>
        </p:spPr>
        <p:txBody>
          <a:bodyPr lIns="0" tIns="36000" rIns="0" bIns="0" anchor="t"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FD0FC1B6-EE16-44D7-9834-DF84A7ADEA7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56805" y="2389460"/>
            <a:ext cx="1580707" cy="36988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593F0B91-3DD7-4A01-8E42-F67898D3150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69376" y="2868867"/>
            <a:ext cx="1580707" cy="2391241"/>
          </a:xfrm>
          <a:prstGeom prst="rect">
            <a:avLst/>
          </a:prstGeom>
        </p:spPr>
        <p:txBody>
          <a:bodyPr lIns="0" tIns="36000" rIns="0" bIns="0" anchor="t"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934BDF84-C0E3-4500-8ACE-521269D25EC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184793" y="2384223"/>
            <a:ext cx="1580707" cy="36988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DD21C2D0-AAD3-4429-9469-F238696350A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197364" y="2863630"/>
            <a:ext cx="1580707" cy="2391241"/>
          </a:xfrm>
          <a:prstGeom prst="rect">
            <a:avLst/>
          </a:prstGeom>
        </p:spPr>
        <p:txBody>
          <a:bodyPr lIns="0" tIns="36000" rIns="0" bIns="0" anchor="t"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A7BB669C-C081-4259-AF0C-C7B25CF9291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0125775" y="2389460"/>
            <a:ext cx="1580707" cy="36988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E9FE2C79-00FA-49BF-9A0B-430107FA39C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138346" y="2868867"/>
            <a:ext cx="1580707" cy="2391241"/>
          </a:xfrm>
          <a:prstGeom prst="rect">
            <a:avLst/>
          </a:prstGeom>
        </p:spPr>
        <p:txBody>
          <a:bodyPr lIns="0" tIns="36000" rIns="0" bIns="0" anchor="t"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FBD9410A-F743-46C6-844E-3569E1A146F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74795" y="1566640"/>
            <a:ext cx="1580707" cy="36988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buNone/>
              <a:defRPr sz="1400">
                <a:solidFill>
                  <a:schemeClr val="tx2"/>
                </a:solidFill>
                <a:latin typeface="+mn-lt"/>
                <a:ea typeface="Segoe UI Black" panose="020B0A02040204020203" pitchFamily="34" charset="0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Master </a:t>
            </a:r>
            <a:r>
              <a:rPr lang="da-DK" err="1"/>
              <a:t>text</a:t>
            </a:r>
            <a:r>
              <a:rPr lang="da-DK"/>
              <a:t> styles</a:t>
            </a: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17669F44-E074-43ED-8A86-A1939B85905C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2399743" y="1563765"/>
            <a:ext cx="1580707" cy="36988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buNone/>
              <a:defRPr sz="1400">
                <a:solidFill>
                  <a:schemeClr val="tx2"/>
                </a:solidFill>
                <a:latin typeface="+mn-lt"/>
                <a:ea typeface="Segoe UI Black" panose="020B0A02040204020203" pitchFamily="34" charset="0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Master </a:t>
            </a:r>
            <a:r>
              <a:rPr lang="da-DK" err="1"/>
              <a:t>text</a:t>
            </a:r>
            <a:r>
              <a:rPr lang="da-DK"/>
              <a:t> styles</a:t>
            </a: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910537CB-CC9D-4A8B-A4C5-611093D9307D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4326971" y="1560890"/>
            <a:ext cx="1580707" cy="36988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buNone/>
              <a:defRPr sz="1400">
                <a:solidFill>
                  <a:schemeClr val="tx2"/>
                </a:solidFill>
                <a:latin typeface="+mn-lt"/>
                <a:ea typeface="Segoe UI Black" panose="020B0A02040204020203" pitchFamily="34" charset="0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Master </a:t>
            </a:r>
            <a:r>
              <a:rPr lang="da-DK" err="1"/>
              <a:t>text</a:t>
            </a:r>
            <a:r>
              <a:rPr lang="da-DK"/>
              <a:t> styles</a:t>
            </a: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3DF917E8-958D-4276-86FA-AA4F926710BC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6253983" y="1560890"/>
            <a:ext cx="1580707" cy="36988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buNone/>
              <a:defRPr sz="1400">
                <a:solidFill>
                  <a:schemeClr val="tx2"/>
                </a:solidFill>
                <a:latin typeface="+mn-lt"/>
                <a:ea typeface="Segoe UI Black" panose="020B0A02040204020203" pitchFamily="34" charset="0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Master </a:t>
            </a:r>
            <a:r>
              <a:rPr lang="da-DK" err="1"/>
              <a:t>text</a:t>
            </a:r>
            <a:r>
              <a:rPr lang="da-DK"/>
              <a:t> styles</a:t>
            </a: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57B5B9E5-47F2-4D93-8AB6-34A24E48D252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8179147" y="1566640"/>
            <a:ext cx="1580707" cy="36988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buNone/>
              <a:defRPr sz="1400">
                <a:solidFill>
                  <a:schemeClr val="tx2"/>
                </a:solidFill>
                <a:latin typeface="+mn-lt"/>
                <a:ea typeface="Segoe UI Black" panose="020B0A02040204020203" pitchFamily="34" charset="0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Master </a:t>
            </a:r>
            <a:r>
              <a:rPr lang="da-DK" err="1"/>
              <a:t>text</a:t>
            </a:r>
            <a:r>
              <a:rPr lang="da-DK"/>
              <a:t> styles</a:t>
            </a: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9E477B34-0A0A-498A-BA86-1E52EE14AFB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0160737" y="1560881"/>
            <a:ext cx="1580707" cy="36988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buNone/>
              <a:defRPr sz="1400">
                <a:solidFill>
                  <a:schemeClr val="tx2"/>
                </a:solidFill>
                <a:latin typeface="+mn-lt"/>
                <a:ea typeface="Segoe UI Black" panose="020B0A02040204020203" pitchFamily="34" charset="0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Master </a:t>
            </a:r>
            <a:r>
              <a:rPr lang="da-DK" err="1"/>
              <a:t>text</a:t>
            </a:r>
            <a:r>
              <a:rPr lang="da-DK"/>
              <a:t> styles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D42EEBE3-6DB6-4ECD-B31F-220F9771254D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1753112" cy="0"/>
          </a:xfrm>
          <a:prstGeom prst="line">
            <a:avLst/>
          </a:prstGeom>
          <a:ln w="254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82013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07246ADE-AF0D-4665-B94E-C64EAAA42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5435B5D-331F-4378-A98D-701BF37150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468001"/>
            <a:ext cx="11473200" cy="533374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headline</a:t>
            </a:r>
            <a:endParaRPr lang="da-DK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subtitle</a:t>
            </a:r>
            <a:endParaRPr lang="da-DK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6ED0A72-E592-4B3B-8C41-58375CA12D2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9200" y="1511300"/>
            <a:ext cx="3517200" cy="4648200"/>
          </a:xfrm>
        </p:spPr>
        <p:txBody>
          <a:bodyPr lIns="72000" tIns="36000" rIns="72000" bIns="36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a-DK" noProof="0" err="1"/>
              <a:t>Click</a:t>
            </a:r>
            <a:r>
              <a:rPr lang="da-DK" noProof="0"/>
              <a:t> to </a:t>
            </a:r>
            <a:r>
              <a:rPr lang="da-DK" noProof="0" err="1"/>
              <a:t>add</a:t>
            </a:r>
            <a:r>
              <a:rPr lang="da-DK" noProof="0"/>
              <a:t> </a:t>
            </a:r>
            <a:r>
              <a:rPr lang="da-DK" noProof="0" err="1"/>
              <a:t>text</a:t>
            </a:r>
            <a:r>
              <a:rPr lang="da-DK" noProof="0"/>
              <a:t>                                                                                                                            Enter &amp; TAB for </a:t>
            </a:r>
            <a:r>
              <a:rPr lang="da-DK" noProof="0" err="1"/>
              <a:t>next</a:t>
            </a:r>
            <a:r>
              <a:rPr lang="da-DK" noProof="0"/>
              <a:t> </a:t>
            </a:r>
            <a:r>
              <a:rPr lang="da-DK" noProof="0" err="1"/>
              <a:t>text</a:t>
            </a:r>
            <a:r>
              <a:rPr lang="da-DK" noProof="0"/>
              <a:t> </a:t>
            </a:r>
            <a:r>
              <a:rPr lang="da-DK" noProof="0" err="1"/>
              <a:t>level</a:t>
            </a:r>
            <a:r>
              <a:rPr lang="da-DK" noProof="0"/>
              <a:t>                                                                                                              SHIFT+TAB to go back in </a:t>
            </a:r>
            <a:r>
              <a:rPr lang="da-DK" noProof="0" err="1"/>
              <a:t>levels</a:t>
            </a:r>
            <a:endParaRPr lang="da-DK" noProof="0"/>
          </a:p>
          <a:p>
            <a:pPr lvl="1"/>
            <a:r>
              <a:rPr lang="da-DK" noProof="0"/>
              <a:t>Second </a:t>
            </a:r>
            <a:r>
              <a:rPr lang="da-DK" noProof="0" err="1"/>
              <a:t>level</a:t>
            </a:r>
            <a:endParaRPr lang="da-DK" noProof="0"/>
          </a:p>
          <a:p>
            <a:pPr lvl="2"/>
            <a:r>
              <a:rPr lang="da-DK" noProof="0"/>
              <a:t>Third </a:t>
            </a:r>
            <a:r>
              <a:rPr lang="da-DK" noProof="0" err="1"/>
              <a:t>level</a:t>
            </a:r>
            <a:endParaRPr lang="da-DK" noProof="0"/>
          </a:p>
          <a:p>
            <a:pPr lvl="3"/>
            <a:r>
              <a:rPr lang="da-DK" noProof="0" err="1"/>
              <a:t>Fourth</a:t>
            </a:r>
            <a:r>
              <a:rPr lang="da-DK" noProof="0"/>
              <a:t> </a:t>
            </a:r>
            <a:r>
              <a:rPr lang="da-DK" noProof="0" err="1"/>
              <a:t>level</a:t>
            </a:r>
            <a:endParaRPr lang="da-DK" noProof="0"/>
          </a:p>
          <a:p>
            <a:pPr lvl="4"/>
            <a:r>
              <a:rPr lang="da-DK" noProof="0"/>
              <a:t>Fifth </a:t>
            </a:r>
            <a:r>
              <a:rPr lang="da-DK" noProof="0" err="1"/>
              <a:t>level</a:t>
            </a:r>
            <a:endParaRPr lang="da-DK" noProof="0"/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4EA0CED-41AA-4000-8AD4-B7611CD8FC4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73988" y="1511300"/>
            <a:ext cx="3520650" cy="4648200"/>
          </a:xfrm>
        </p:spPr>
        <p:txBody>
          <a:bodyPr lIns="72000" tIns="36000" rIns="72000" bIns="36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a-DK" noProof="0" err="1"/>
              <a:t>Click</a:t>
            </a:r>
            <a:r>
              <a:rPr lang="da-DK" noProof="0"/>
              <a:t> to </a:t>
            </a:r>
            <a:r>
              <a:rPr lang="da-DK" noProof="0" err="1"/>
              <a:t>add</a:t>
            </a:r>
            <a:r>
              <a:rPr lang="da-DK" noProof="0"/>
              <a:t> </a:t>
            </a:r>
            <a:r>
              <a:rPr lang="da-DK" noProof="0" err="1"/>
              <a:t>text</a:t>
            </a:r>
            <a:r>
              <a:rPr lang="da-DK" noProof="0"/>
              <a:t>                                                                                                                            Enter &amp; TAB for </a:t>
            </a:r>
            <a:r>
              <a:rPr lang="da-DK" noProof="0" err="1"/>
              <a:t>next</a:t>
            </a:r>
            <a:r>
              <a:rPr lang="da-DK" noProof="0"/>
              <a:t> </a:t>
            </a:r>
            <a:r>
              <a:rPr lang="da-DK" noProof="0" err="1"/>
              <a:t>text</a:t>
            </a:r>
            <a:r>
              <a:rPr lang="da-DK" noProof="0"/>
              <a:t> </a:t>
            </a:r>
            <a:r>
              <a:rPr lang="da-DK" noProof="0" err="1"/>
              <a:t>level</a:t>
            </a:r>
            <a:r>
              <a:rPr lang="da-DK" noProof="0"/>
              <a:t>                                                                                                              SHIFT+TAB to go back in </a:t>
            </a:r>
            <a:r>
              <a:rPr lang="da-DK" noProof="0" err="1"/>
              <a:t>levels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783FC893-B43E-495D-A58D-B99DBF431AA0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315324" y="1511300"/>
            <a:ext cx="3517275" cy="4648200"/>
          </a:xfrm>
        </p:spPr>
        <p:txBody>
          <a:bodyPr lIns="72000" tIns="36000" rIns="72000" bIns="36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a-DK" noProof="0" err="1"/>
              <a:t>Click</a:t>
            </a:r>
            <a:r>
              <a:rPr lang="da-DK" noProof="0"/>
              <a:t> to </a:t>
            </a:r>
            <a:r>
              <a:rPr lang="da-DK" noProof="0" err="1"/>
              <a:t>add</a:t>
            </a:r>
            <a:r>
              <a:rPr lang="da-DK" noProof="0"/>
              <a:t> </a:t>
            </a:r>
            <a:r>
              <a:rPr lang="da-DK" noProof="0" err="1"/>
              <a:t>text</a:t>
            </a:r>
            <a:r>
              <a:rPr lang="da-DK" noProof="0"/>
              <a:t>                                                                                                                            Enter &amp; TAB for </a:t>
            </a:r>
            <a:r>
              <a:rPr lang="da-DK" noProof="0" err="1"/>
              <a:t>next</a:t>
            </a:r>
            <a:r>
              <a:rPr lang="da-DK" noProof="0"/>
              <a:t> </a:t>
            </a:r>
            <a:r>
              <a:rPr lang="da-DK" noProof="0" err="1"/>
              <a:t>text</a:t>
            </a:r>
            <a:r>
              <a:rPr lang="da-DK" noProof="0"/>
              <a:t> </a:t>
            </a:r>
            <a:r>
              <a:rPr lang="da-DK" noProof="0" err="1"/>
              <a:t>level</a:t>
            </a:r>
            <a:r>
              <a:rPr lang="da-DK" noProof="0"/>
              <a:t>                                                                                                              SHIFT+TAB to go back in </a:t>
            </a:r>
            <a:r>
              <a:rPr lang="da-DK" noProof="0" err="1"/>
              <a:t>levels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da-DK" smtClean="0"/>
              <a:pPr/>
              <a:t>‹#›</a:t>
            </a:fld>
            <a:endParaRPr lang="da-DK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2EFDDB8-F51F-4EA8-A6BD-D49EBEE0DF9D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1286933" cy="0"/>
          </a:xfrm>
          <a:prstGeom prst="line">
            <a:avLst/>
          </a:prstGeom>
          <a:ln w="254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8D8D36B-6E31-41B4-B9EE-CFC444630985}"/>
              </a:ext>
            </a:extLst>
          </p:cNvPr>
          <p:cNvCxnSpPr>
            <a:cxnSpLocks/>
          </p:cNvCxnSpPr>
          <p:nvPr/>
        </p:nvCxnSpPr>
        <p:spPr>
          <a:xfrm>
            <a:off x="11832600" y="6264000"/>
            <a:ext cx="359400" cy="0"/>
          </a:xfrm>
          <a:prstGeom prst="line">
            <a:avLst/>
          </a:prstGeom>
          <a:ln w="762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71245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6" pos="2492" userDrawn="1">
          <p15:clr>
            <a:srgbClr val="A4A3A4"/>
          </p15:clr>
        </p15:guide>
        <p15:guide id="7" pos="2757" userDrawn="1">
          <p15:clr>
            <a:srgbClr val="A4A3A4"/>
          </p15:clr>
        </p15:guide>
        <p15:guide id="8" pos="4973" userDrawn="1">
          <p15:clr>
            <a:srgbClr val="A4A3A4"/>
          </p15:clr>
        </p15:guide>
        <p15:guide id="9" pos="5238" userDrawn="1">
          <p15:clr>
            <a:srgbClr val="A4A3A4"/>
          </p15:clr>
        </p15:guide>
        <p15:guide id="10" orient="horz" pos="952" userDrawn="1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me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solidFill>
                  <a:schemeClr val="accent4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subtitle</a:t>
            </a:r>
            <a:endParaRPr lang="da-DK"/>
          </a:p>
        </p:txBody>
      </p: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2BEFA90D-D6E4-4EDC-922E-B12E9CF6A8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468000"/>
            <a:ext cx="11473200" cy="517089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headline</a:t>
            </a:r>
            <a:endParaRPr lang="da-DK"/>
          </a:p>
        </p:txBody>
      </p:sp>
      <p:sp>
        <p:nvSpPr>
          <p:cNvPr id="35" name="Footer Placeholder 4">
            <a:extLst>
              <a:ext uri="{FF2B5EF4-FFF2-40B4-BE49-F238E27FC236}">
                <a16:creationId xmlns:a16="http://schemas.microsoft.com/office/drawing/2014/main" id="{15C7A406-EEAE-45A0-B148-EFB6F249F59E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02B2F7F1-05EF-4074-9D69-78BA224E38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0D5E480-A1CB-4736-BA22-FB9C7E588C02}"/>
              </a:ext>
            </a:extLst>
          </p:cNvPr>
          <p:cNvCxnSpPr>
            <a:cxnSpLocks/>
          </p:cNvCxnSpPr>
          <p:nvPr/>
        </p:nvCxnSpPr>
        <p:spPr>
          <a:xfrm>
            <a:off x="1287140" y="2058487"/>
            <a:ext cx="9617720" cy="0"/>
          </a:xfrm>
          <a:prstGeom prst="line">
            <a:avLst/>
          </a:prstGeom>
          <a:ln w="1270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2F88611-6229-45AF-B65C-691CE28299CC}"/>
              </a:ext>
            </a:extLst>
          </p:cNvPr>
          <p:cNvCxnSpPr>
            <a:cxnSpLocks/>
          </p:cNvCxnSpPr>
          <p:nvPr/>
        </p:nvCxnSpPr>
        <p:spPr>
          <a:xfrm>
            <a:off x="2441860" y="2058487"/>
            <a:ext cx="0" cy="480906"/>
          </a:xfrm>
          <a:prstGeom prst="line">
            <a:avLst/>
          </a:prstGeom>
          <a:ln w="12700">
            <a:solidFill>
              <a:schemeClr val="accent5"/>
            </a:solidFill>
            <a:headEnd type="oval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2500992E-70BD-41F5-9273-5EF4E07E1020}"/>
              </a:ext>
            </a:extLst>
          </p:cNvPr>
          <p:cNvCxnSpPr>
            <a:cxnSpLocks/>
          </p:cNvCxnSpPr>
          <p:nvPr/>
        </p:nvCxnSpPr>
        <p:spPr>
          <a:xfrm>
            <a:off x="4876867" y="2058487"/>
            <a:ext cx="0" cy="480906"/>
          </a:xfrm>
          <a:prstGeom prst="line">
            <a:avLst/>
          </a:prstGeom>
          <a:ln w="12700">
            <a:solidFill>
              <a:schemeClr val="accent5"/>
            </a:solidFill>
            <a:headEnd type="oval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C7FD88FF-08A4-45C0-A6DC-9734DD8FA4FC}"/>
              </a:ext>
            </a:extLst>
          </p:cNvPr>
          <p:cNvCxnSpPr>
            <a:cxnSpLocks/>
          </p:cNvCxnSpPr>
          <p:nvPr/>
        </p:nvCxnSpPr>
        <p:spPr>
          <a:xfrm>
            <a:off x="7311871" y="2058487"/>
            <a:ext cx="0" cy="480906"/>
          </a:xfrm>
          <a:prstGeom prst="line">
            <a:avLst/>
          </a:prstGeom>
          <a:ln w="12700">
            <a:solidFill>
              <a:schemeClr val="accent5"/>
            </a:solidFill>
            <a:headEnd type="oval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B54BB4BB-2E63-4394-90C3-6D3550EB5CAB}"/>
              </a:ext>
            </a:extLst>
          </p:cNvPr>
          <p:cNvCxnSpPr>
            <a:cxnSpLocks/>
          </p:cNvCxnSpPr>
          <p:nvPr/>
        </p:nvCxnSpPr>
        <p:spPr>
          <a:xfrm>
            <a:off x="9753660" y="2058487"/>
            <a:ext cx="0" cy="480906"/>
          </a:xfrm>
          <a:prstGeom prst="line">
            <a:avLst/>
          </a:prstGeom>
          <a:ln w="12700">
            <a:solidFill>
              <a:schemeClr val="accent5"/>
            </a:solidFill>
            <a:headEnd type="oval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73DB7DAF-E2A1-4488-BFA0-4939F862B117}"/>
              </a:ext>
            </a:extLst>
          </p:cNvPr>
          <p:cNvGrpSpPr/>
          <p:nvPr/>
        </p:nvGrpSpPr>
        <p:grpSpPr>
          <a:xfrm>
            <a:off x="1287141" y="2295553"/>
            <a:ext cx="9617719" cy="3357873"/>
            <a:chOff x="359400" y="2295553"/>
            <a:chExt cx="7607040" cy="3357873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791563F-A2FE-40F4-A26C-A9BCDF2B0EFB}"/>
                </a:ext>
              </a:extLst>
            </p:cNvPr>
            <p:cNvGrpSpPr/>
            <p:nvPr/>
          </p:nvGrpSpPr>
          <p:grpSpPr>
            <a:xfrm>
              <a:off x="359400" y="2295553"/>
              <a:ext cx="1807800" cy="3353430"/>
              <a:chOff x="438150" y="1937173"/>
              <a:chExt cx="1833798" cy="3353430"/>
            </a:xfrm>
          </p:grpSpPr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D5D8F871-58B9-4C28-B899-DD9C2A09CE14}"/>
                  </a:ext>
                </a:extLst>
              </p:cNvPr>
              <p:cNvSpPr/>
              <p:nvPr/>
            </p:nvSpPr>
            <p:spPr>
              <a:xfrm>
                <a:off x="438150" y="1937173"/>
                <a:ext cx="1833798" cy="3353430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5" name="Straight Connector 4">
                <a:extLst>
                  <a:ext uri="{FF2B5EF4-FFF2-40B4-BE49-F238E27FC236}">
                    <a16:creationId xmlns:a16="http://schemas.microsoft.com/office/drawing/2014/main" id="{FEEC9AB9-423C-4730-BDD7-1C062744582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51905" y="5093547"/>
                <a:ext cx="413173" cy="0"/>
              </a:xfrm>
              <a:prstGeom prst="line">
                <a:avLst/>
              </a:prstGeom>
              <a:ln w="762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DD4E84D3-F883-4284-AC0D-41121E884798}"/>
                </a:ext>
              </a:extLst>
            </p:cNvPr>
            <p:cNvGrpSpPr/>
            <p:nvPr/>
          </p:nvGrpSpPr>
          <p:grpSpPr>
            <a:xfrm>
              <a:off x="2292480" y="2299996"/>
              <a:ext cx="1807800" cy="3353430"/>
              <a:chOff x="438150" y="1937173"/>
              <a:chExt cx="1833798" cy="3353430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B039E816-C332-468D-A352-6DACF5DBFB1B}"/>
                  </a:ext>
                </a:extLst>
              </p:cNvPr>
              <p:cNvSpPr/>
              <p:nvPr/>
            </p:nvSpPr>
            <p:spPr>
              <a:xfrm>
                <a:off x="438150" y="1937173"/>
                <a:ext cx="1833798" cy="335343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DB32A852-59AC-4CE5-9326-A96EC8205B2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51905" y="5093547"/>
                <a:ext cx="413173" cy="0"/>
              </a:xfrm>
              <a:prstGeom prst="line">
                <a:avLst/>
              </a:prstGeom>
              <a:ln w="762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8BB1B673-2677-4D6E-B31E-A282FBAD8F46}"/>
                </a:ext>
              </a:extLst>
            </p:cNvPr>
            <p:cNvGrpSpPr/>
            <p:nvPr/>
          </p:nvGrpSpPr>
          <p:grpSpPr>
            <a:xfrm>
              <a:off x="4225560" y="2295553"/>
              <a:ext cx="1807800" cy="3353430"/>
              <a:chOff x="438150" y="1937173"/>
              <a:chExt cx="1833798" cy="3353430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99EA1B50-B131-4EBA-97A2-B46D1F154E26}"/>
                  </a:ext>
                </a:extLst>
              </p:cNvPr>
              <p:cNvSpPr/>
              <p:nvPr/>
            </p:nvSpPr>
            <p:spPr>
              <a:xfrm>
                <a:off x="438150" y="1937173"/>
                <a:ext cx="1833798" cy="335343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A6294454-2FD2-49EF-B930-5C35D7CAF42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51905" y="5093547"/>
                <a:ext cx="413173" cy="0"/>
              </a:xfrm>
              <a:prstGeom prst="line">
                <a:avLst/>
              </a:prstGeom>
              <a:ln w="76200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B345F779-CC91-4E48-ADEB-DD75AD81DF97}"/>
                </a:ext>
              </a:extLst>
            </p:cNvPr>
            <p:cNvGrpSpPr/>
            <p:nvPr/>
          </p:nvGrpSpPr>
          <p:grpSpPr>
            <a:xfrm>
              <a:off x="6158640" y="2295553"/>
              <a:ext cx="1807800" cy="3353430"/>
              <a:chOff x="438150" y="1937173"/>
              <a:chExt cx="1833798" cy="3353430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6E0F4CCB-FEDC-4402-AB36-E5C97ED6FB45}"/>
                  </a:ext>
                </a:extLst>
              </p:cNvPr>
              <p:cNvSpPr/>
              <p:nvPr/>
            </p:nvSpPr>
            <p:spPr>
              <a:xfrm>
                <a:off x="438150" y="1937173"/>
                <a:ext cx="1833798" cy="335343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BA2AEB1D-930A-4E4C-9CA3-26078A8EAF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51905" y="5093547"/>
                <a:ext cx="413173" cy="0"/>
              </a:xfrm>
              <a:prstGeom prst="line">
                <a:avLst/>
              </a:prstGeom>
              <a:ln w="762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8A252B4D-EE39-491F-A829-8783C01EBD6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8869" y="2378537"/>
            <a:ext cx="2166492" cy="36988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1400">
                <a:solidFill>
                  <a:schemeClr val="tx2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da-DK"/>
              <a:t>Q1</a:t>
            </a: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FFED530C-3C02-4B2D-8732-0C7AD64289B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361440" y="2857944"/>
            <a:ext cx="2166492" cy="2356916"/>
          </a:xfrm>
          <a:prstGeom prst="rect">
            <a:avLst/>
          </a:prstGeom>
        </p:spPr>
        <p:txBody>
          <a:bodyPr lIns="0" tIns="36000" rIns="0" bIns="0" anchor="t"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721ED57A-71DB-4FB3-AD63-0B44B821A23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787270" y="2378537"/>
            <a:ext cx="2167465" cy="3698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da-DK" sz="1400" dirty="0">
                <a:solidFill>
                  <a:schemeClr val="tx2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marL="0" lvl="0" indent="0" algn="ctr">
              <a:buNone/>
            </a:pPr>
            <a:r>
              <a:rPr lang="da-DK"/>
              <a:t>Q2</a:t>
            </a: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6BDB9F7C-598D-434E-8DB2-6CE0CC4F54E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799841" y="2857944"/>
            <a:ext cx="2167465" cy="2356916"/>
          </a:xfrm>
          <a:prstGeom prst="rect">
            <a:avLst/>
          </a:prstGeom>
        </p:spPr>
        <p:txBody>
          <a:bodyPr lIns="0" tIns="36000" rIns="0" bIns="0" anchor="t"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FEDCE8C6-D962-41C9-BBF6-951A4E54310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18897" y="2384030"/>
            <a:ext cx="2160692" cy="36988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lang="en-US" sz="1400" kern="12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1pPr>
          </a:lstStyle>
          <a:p>
            <a:pPr lvl="0"/>
            <a:r>
              <a:rPr lang="da-DK"/>
              <a:t>Q3</a:t>
            </a: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F1D5B88D-9CB8-4C49-9D78-AF3F258F043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31468" y="2863437"/>
            <a:ext cx="2160692" cy="2356916"/>
          </a:xfrm>
          <a:prstGeom prst="rect">
            <a:avLst/>
          </a:prstGeom>
        </p:spPr>
        <p:txBody>
          <a:bodyPr lIns="0" tIns="36000" rIns="0" bIns="0" anchor="t"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FD0FC1B6-EE16-44D7-9834-DF84A7ADEA7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657304" y="2376382"/>
            <a:ext cx="2160686" cy="36988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da-DK"/>
              <a:t>Q4</a:t>
            </a: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593F0B91-3DD7-4A01-8E42-F67898D3150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669875" y="2855789"/>
            <a:ext cx="2160686" cy="2359072"/>
          </a:xfrm>
          <a:prstGeom prst="rect">
            <a:avLst/>
          </a:prstGeom>
        </p:spPr>
        <p:txBody>
          <a:bodyPr lIns="0" tIns="36000" rIns="0" bIns="0" anchor="t"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D42EEBE3-6DB6-4ECD-B31F-220F9771254D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1753112" cy="0"/>
          </a:xfrm>
          <a:prstGeom prst="line">
            <a:avLst/>
          </a:prstGeom>
          <a:ln w="254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93199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BE981E9-87B2-40BB-8449-60F93DCE7B08}"/>
              </a:ext>
            </a:extLst>
          </p:cNvPr>
          <p:cNvCxnSpPr>
            <a:cxnSpLocks/>
          </p:cNvCxnSpPr>
          <p:nvPr/>
        </p:nvCxnSpPr>
        <p:spPr>
          <a:xfrm flipV="1">
            <a:off x="9850232" y="2141414"/>
            <a:ext cx="1840" cy="1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D2C72E3A-91CF-4BD5-9AA5-E94DAAA667BA}"/>
              </a:ext>
            </a:extLst>
          </p:cNvPr>
          <p:cNvCxnSpPr>
            <a:cxnSpLocks/>
          </p:cNvCxnSpPr>
          <p:nvPr/>
        </p:nvCxnSpPr>
        <p:spPr>
          <a:xfrm flipV="1">
            <a:off x="3650622" y="2138095"/>
            <a:ext cx="1840" cy="1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514046B0-37D6-45D0-A3E3-271C678D5723}"/>
              </a:ext>
            </a:extLst>
          </p:cNvPr>
          <p:cNvCxnSpPr/>
          <p:nvPr/>
        </p:nvCxnSpPr>
        <p:spPr>
          <a:xfrm>
            <a:off x="1199796" y="2333297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604EA8B-078F-44DE-BACB-05D12AD13DBE}"/>
              </a:ext>
            </a:extLst>
          </p:cNvPr>
          <p:cNvCxnSpPr>
            <a:cxnSpLocks/>
          </p:cNvCxnSpPr>
          <p:nvPr/>
        </p:nvCxnSpPr>
        <p:spPr>
          <a:xfrm flipV="1">
            <a:off x="6743206" y="2138095"/>
            <a:ext cx="1840" cy="1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CE11864-AD98-4C67-88BB-1802ED063728}"/>
              </a:ext>
            </a:extLst>
          </p:cNvPr>
          <p:cNvCxnSpPr/>
          <p:nvPr/>
        </p:nvCxnSpPr>
        <p:spPr>
          <a:xfrm>
            <a:off x="3149802" y="2329027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solidFill>
                  <a:schemeClr val="accent4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subtitle</a:t>
            </a:r>
            <a:endParaRPr lang="da-DK"/>
          </a:p>
        </p:txBody>
      </p:sp>
      <p:sp>
        <p:nvSpPr>
          <p:cNvPr id="37" name="Shape 978">
            <a:extLst>
              <a:ext uri="{FF2B5EF4-FFF2-40B4-BE49-F238E27FC236}">
                <a16:creationId xmlns:a16="http://schemas.microsoft.com/office/drawing/2014/main" id="{11F35FA9-2F8A-42A5-96A9-784D2A81EBF3}"/>
              </a:ext>
            </a:extLst>
          </p:cNvPr>
          <p:cNvSpPr/>
          <p:nvPr/>
        </p:nvSpPr>
        <p:spPr>
          <a:xfrm>
            <a:off x="18263508" y="6680560"/>
            <a:ext cx="1840627" cy="184062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lIns="182778" tIns="91364" rIns="182778" bIns="91364" anchor="ctr" anchorCtr="0">
            <a:noAutofit/>
          </a:bodyPr>
          <a:lstStyle/>
          <a:p>
            <a:pPr algn="ctr"/>
            <a:endParaRPr lang="da-DK" sz="7198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" name="Shape 985">
            <a:extLst>
              <a:ext uri="{FF2B5EF4-FFF2-40B4-BE49-F238E27FC236}">
                <a16:creationId xmlns:a16="http://schemas.microsoft.com/office/drawing/2014/main" id="{BE2C25E0-D6F4-4E65-8C4C-167BE5E48FB8}"/>
              </a:ext>
            </a:extLst>
          </p:cNvPr>
          <p:cNvSpPr txBox="1"/>
          <p:nvPr/>
        </p:nvSpPr>
        <p:spPr>
          <a:xfrm>
            <a:off x="18757036" y="6807059"/>
            <a:ext cx="1344848" cy="709025"/>
          </a:xfrm>
          <a:prstGeom prst="rect">
            <a:avLst/>
          </a:prstGeom>
          <a:noFill/>
          <a:ln>
            <a:noFill/>
          </a:ln>
        </p:spPr>
        <p:txBody>
          <a:bodyPr lIns="487510" tIns="243754" rIns="487510" bIns="243754" anchor="ctr" anchorCtr="0">
            <a:noAutofit/>
          </a:bodyPr>
          <a:lstStyle/>
          <a:p>
            <a:pPr algn="ctr">
              <a:buSzPct val="25000"/>
            </a:pPr>
            <a:r>
              <a:rPr lang="da-DK" sz="5400">
                <a:latin typeface="Lato" charset="0"/>
                <a:ea typeface="Lato" charset="0"/>
                <a:cs typeface="Lato" charset="0"/>
                <a:sym typeface="Roboto"/>
              </a:rPr>
              <a:t>95%</a:t>
            </a:r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5793D357-8EF8-4CAE-805D-47972E268E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4224" y="3083722"/>
            <a:ext cx="1683281" cy="180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accent4"/>
                </a:solidFill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78FDE029-30E8-47F4-BC7D-4257490F0A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55810" y="3116289"/>
            <a:ext cx="1683281" cy="180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accent4"/>
                </a:solidFill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44" name="Text Placeholder 11">
            <a:extLst>
              <a:ext uri="{FF2B5EF4-FFF2-40B4-BE49-F238E27FC236}">
                <a16:creationId xmlns:a16="http://schemas.microsoft.com/office/drawing/2014/main" id="{DC029697-6EFE-456C-AC9E-EC23F4E854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99768" y="3116289"/>
            <a:ext cx="1683281" cy="180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accent4"/>
                </a:solidFill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45" name="Text Placeholder 11">
            <a:extLst>
              <a:ext uri="{FF2B5EF4-FFF2-40B4-BE49-F238E27FC236}">
                <a16:creationId xmlns:a16="http://schemas.microsoft.com/office/drawing/2014/main" id="{F37A66BD-B3EF-4324-913C-694CCE3518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308161" y="3083722"/>
            <a:ext cx="1683281" cy="180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accent4"/>
                </a:solidFill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46" name="Text Placeholder 11">
            <a:extLst>
              <a:ext uri="{FF2B5EF4-FFF2-40B4-BE49-F238E27FC236}">
                <a16:creationId xmlns:a16="http://schemas.microsoft.com/office/drawing/2014/main" id="{089C68E1-FA14-4AD8-B642-29AF31BF561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3459" y="3116289"/>
            <a:ext cx="1683281" cy="180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accent4"/>
                </a:solidFill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B4ED695E-B5CC-4269-9555-EECC483EAE2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196077" y="3116289"/>
            <a:ext cx="1683281" cy="180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accent4"/>
                </a:solidFill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B6DEF11C-0D64-4853-8B03-D9D5BB02F69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6582" y="1969595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50" name="Text Placeholder 11">
            <a:extLst>
              <a:ext uri="{FF2B5EF4-FFF2-40B4-BE49-F238E27FC236}">
                <a16:creationId xmlns:a16="http://schemas.microsoft.com/office/drawing/2014/main" id="{FE20E936-F3F5-45CE-82F2-35FC2F4EA01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556589" y="1969595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16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da-DK"/>
              <a:t>YEAR</a:t>
            </a:r>
          </a:p>
          <a:p>
            <a:pPr lvl="0"/>
            <a:endParaRPr lang="da-DK"/>
          </a:p>
        </p:txBody>
      </p:sp>
      <p:sp>
        <p:nvSpPr>
          <p:cNvPr id="52" name="Text Placeholder 11">
            <a:extLst>
              <a:ext uri="{FF2B5EF4-FFF2-40B4-BE49-F238E27FC236}">
                <a16:creationId xmlns:a16="http://schemas.microsoft.com/office/drawing/2014/main" id="{A2E283F7-DC27-453F-AB66-46C8E65B9A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506596" y="1969595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16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da-DK"/>
              <a:t>YEAR</a:t>
            </a:r>
          </a:p>
          <a:p>
            <a:pPr lvl="0"/>
            <a:endParaRPr lang="da-DK"/>
          </a:p>
        </p:txBody>
      </p:sp>
      <p:sp>
        <p:nvSpPr>
          <p:cNvPr id="36" name="Title Placeholder 1">
            <a:extLst>
              <a:ext uri="{FF2B5EF4-FFF2-40B4-BE49-F238E27FC236}">
                <a16:creationId xmlns:a16="http://schemas.microsoft.com/office/drawing/2014/main" id="{5CD14FE5-4515-42DB-BF78-8E40B70B18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468001"/>
            <a:ext cx="11473200" cy="529104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headline</a:t>
            </a:r>
            <a:endParaRPr lang="da-DK"/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C873D042-86FC-4DD7-8659-3E8B16BC106C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62D76354-693F-4135-9AFE-6BF70C26F8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9720D24E-BBB9-4CBD-A69C-81F050B08EEA}"/>
              </a:ext>
            </a:extLst>
          </p:cNvPr>
          <p:cNvCxnSpPr/>
          <p:nvPr/>
        </p:nvCxnSpPr>
        <p:spPr>
          <a:xfrm>
            <a:off x="5097451" y="2329027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F99252D-546F-420D-ACA5-54EC113E1557}"/>
              </a:ext>
            </a:extLst>
          </p:cNvPr>
          <p:cNvCxnSpPr/>
          <p:nvPr/>
        </p:nvCxnSpPr>
        <p:spPr>
          <a:xfrm>
            <a:off x="7045100" y="2332646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B095DAD2-664E-42CC-9D37-097FDDAB57E7}"/>
              </a:ext>
            </a:extLst>
          </p:cNvPr>
          <p:cNvCxnSpPr/>
          <p:nvPr/>
        </p:nvCxnSpPr>
        <p:spPr>
          <a:xfrm>
            <a:off x="9042517" y="2355468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E89128E0-F91C-432A-BC1A-41A5FC553242}"/>
              </a:ext>
            </a:extLst>
          </p:cNvPr>
          <p:cNvCxnSpPr/>
          <p:nvPr/>
        </p:nvCxnSpPr>
        <p:spPr>
          <a:xfrm>
            <a:off x="10996940" y="2355468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C700444D-7C2B-4B25-A710-D9219F9139FC}"/>
              </a:ext>
            </a:extLst>
          </p:cNvPr>
          <p:cNvGrpSpPr/>
          <p:nvPr/>
        </p:nvGrpSpPr>
        <p:grpSpPr>
          <a:xfrm>
            <a:off x="1199797" y="2561513"/>
            <a:ext cx="9792406" cy="91495"/>
            <a:chOff x="1429030" y="4482059"/>
            <a:chExt cx="7757982" cy="0"/>
          </a:xfrm>
        </p:grpSpPr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168635DB-6207-4C84-8660-5061659B259F}"/>
                </a:ext>
              </a:extLst>
            </p:cNvPr>
            <p:cNvCxnSpPr/>
            <p:nvPr/>
          </p:nvCxnSpPr>
          <p:spPr>
            <a:xfrm>
              <a:off x="7641506" y="4482059"/>
              <a:ext cx="1545506" cy="0"/>
            </a:xfrm>
            <a:prstGeom prst="line">
              <a:avLst/>
            </a:prstGeom>
            <a:ln w="47625">
              <a:solidFill>
                <a:schemeClr val="accent5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6B739FF1-5712-4DB0-8430-BA8D0DC596BB}"/>
                </a:ext>
              </a:extLst>
            </p:cNvPr>
            <p:cNvCxnSpPr/>
            <p:nvPr/>
          </p:nvCxnSpPr>
          <p:spPr>
            <a:xfrm>
              <a:off x="6096000" y="4482059"/>
              <a:ext cx="1545506" cy="0"/>
            </a:xfrm>
            <a:prstGeom prst="line">
              <a:avLst/>
            </a:prstGeom>
            <a:ln w="47625">
              <a:solidFill>
                <a:schemeClr val="accent4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8F8E77A8-BB88-4670-8248-0969F3FD3213}"/>
                </a:ext>
              </a:extLst>
            </p:cNvPr>
            <p:cNvCxnSpPr/>
            <p:nvPr/>
          </p:nvCxnSpPr>
          <p:spPr>
            <a:xfrm>
              <a:off x="4520042" y="4482059"/>
              <a:ext cx="1545506" cy="0"/>
            </a:xfrm>
            <a:prstGeom prst="line">
              <a:avLst/>
            </a:prstGeom>
            <a:ln w="47625">
              <a:solidFill>
                <a:schemeClr val="accent3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EBA6C91D-9FE3-4788-8EE7-CCA555B1EEC4}"/>
                </a:ext>
              </a:extLst>
            </p:cNvPr>
            <p:cNvCxnSpPr/>
            <p:nvPr/>
          </p:nvCxnSpPr>
          <p:spPr>
            <a:xfrm>
              <a:off x="2974536" y="4482059"/>
              <a:ext cx="1545506" cy="0"/>
            </a:xfrm>
            <a:prstGeom prst="line">
              <a:avLst/>
            </a:prstGeom>
            <a:ln w="47625">
              <a:solidFill>
                <a:schemeClr val="accent2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4DC9CA4D-D057-4476-B2A0-13C4821579CD}"/>
                </a:ext>
              </a:extLst>
            </p:cNvPr>
            <p:cNvCxnSpPr/>
            <p:nvPr/>
          </p:nvCxnSpPr>
          <p:spPr>
            <a:xfrm>
              <a:off x="1429030" y="4482059"/>
              <a:ext cx="1545506" cy="0"/>
            </a:xfrm>
            <a:prstGeom prst="line">
              <a:avLst/>
            </a:prstGeom>
            <a:ln w="47625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2" name="Text Placeholder 11">
            <a:extLst>
              <a:ext uri="{FF2B5EF4-FFF2-40B4-BE49-F238E27FC236}">
                <a16:creationId xmlns:a16="http://schemas.microsoft.com/office/drawing/2014/main" id="{014359AF-45E4-40AB-8328-4170BA9FCDA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51885" y="1969595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16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da-DK"/>
              <a:t>YEAR</a:t>
            </a:r>
          </a:p>
          <a:p>
            <a:pPr lvl="0"/>
            <a:endParaRPr lang="da-DK"/>
          </a:p>
        </p:txBody>
      </p:sp>
      <p:sp>
        <p:nvSpPr>
          <p:cNvPr id="63" name="Text Placeholder 11">
            <a:extLst>
              <a:ext uri="{FF2B5EF4-FFF2-40B4-BE49-F238E27FC236}">
                <a16:creationId xmlns:a16="http://schemas.microsoft.com/office/drawing/2014/main" id="{6C1269C6-4E2D-477A-A50C-B7F9671BF6F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48986" y="1965703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16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da-DK"/>
              <a:t>YEAR</a:t>
            </a:r>
          </a:p>
          <a:p>
            <a:pPr lvl="0"/>
            <a:endParaRPr lang="da-DK"/>
          </a:p>
        </p:txBody>
      </p:sp>
      <p:sp>
        <p:nvSpPr>
          <p:cNvPr id="64" name="Text Placeholder 11">
            <a:extLst>
              <a:ext uri="{FF2B5EF4-FFF2-40B4-BE49-F238E27FC236}">
                <a16:creationId xmlns:a16="http://schemas.microsoft.com/office/drawing/2014/main" id="{3A337DBF-A0DC-4899-9E05-8454AF15C2B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399693" y="1965703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16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da-DK"/>
              <a:t>YEAR</a:t>
            </a:r>
          </a:p>
          <a:p>
            <a:pPr lvl="0"/>
            <a:endParaRPr lang="da-DK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0DD71549-6BE4-421E-819A-8AE48F04A4A5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1286933" cy="0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4DBA57F-99F2-4C8F-B8D5-E5186E0D8085}"/>
              </a:ext>
            </a:extLst>
          </p:cNvPr>
          <p:cNvCxnSpPr>
            <a:cxnSpLocks/>
          </p:cNvCxnSpPr>
          <p:nvPr/>
        </p:nvCxnSpPr>
        <p:spPr>
          <a:xfrm>
            <a:off x="11832600" y="6264000"/>
            <a:ext cx="359400" cy="0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96038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eps/F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solidFill>
                  <a:schemeClr val="accent4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subtitle</a:t>
            </a:r>
            <a:endParaRPr lang="da-DK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49F6A3B-0977-44CF-8BDF-ED734B2D03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8150" y="1571498"/>
            <a:ext cx="5171891" cy="1204876"/>
          </a:xfrm>
          <a:prstGeom prst="rect">
            <a:avLst/>
          </a:prstGeom>
          <a:ln w="19050">
            <a:noFill/>
          </a:ln>
        </p:spPr>
        <p:txBody>
          <a:bodyPr lIns="72000" tIns="36000" rIns="72000" bIns="36000"/>
          <a:lstStyle>
            <a:lvl1pPr marL="0" indent="0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43" name="Title Placeholder 1">
            <a:extLst>
              <a:ext uri="{FF2B5EF4-FFF2-40B4-BE49-F238E27FC236}">
                <a16:creationId xmlns:a16="http://schemas.microsoft.com/office/drawing/2014/main" id="{6FA84DC4-0E76-4505-BB76-BDA71C8DC4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468001"/>
            <a:ext cx="11473200" cy="533374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headline</a:t>
            </a:r>
            <a:endParaRPr lang="da-DK"/>
          </a:p>
        </p:txBody>
      </p:sp>
      <p:sp>
        <p:nvSpPr>
          <p:cNvPr id="44" name="Footer Placeholder 4">
            <a:extLst>
              <a:ext uri="{FF2B5EF4-FFF2-40B4-BE49-F238E27FC236}">
                <a16:creationId xmlns:a16="http://schemas.microsoft.com/office/drawing/2014/main" id="{AFECD0E4-1024-44AE-8E23-42280A9B65D5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5CDA829A-ED52-43E9-BA64-55EFBD33D9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0128885-44ED-4F42-AD5E-5F785B0DA5E4}"/>
              </a:ext>
            </a:extLst>
          </p:cNvPr>
          <p:cNvGrpSpPr/>
          <p:nvPr/>
        </p:nvGrpSpPr>
        <p:grpSpPr>
          <a:xfrm>
            <a:off x="438150" y="2829540"/>
            <a:ext cx="11277154" cy="1198919"/>
            <a:chOff x="457423" y="2718768"/>
            <a:chExt cx="11277154" cy="1198919"/>
          </a:xfrm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grpSpPr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F0F9E098-4E8F-453B-8D99-AEABACF4E6C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310755" y="2718768"/>
              <a:ext cx="2010494" cy="1198919"/>
            </a:xfrm>
            <a:prstGeom prst="rect">
              <a:avLst/>
            </a:prstGeom>
          </p:spPr>
        </p:pic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id="{5071B3D2-A2C6-4796-B12F-8419A1EA5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164087" y="2718768"/>
              <a:ext cx="2010494" cy="1198919"/>
            </a:xfrm>
            <a:prstGeom prst="rect">
              <a:avLst/>
            </a:prstGeom>
          </p:spPr>
        </p:pic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07D49D30-6D0F-4578-8061-E83B25A8683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57423" y="2718768"/>
              <a:ext cx="2010494" cy="1198919"/>
            </a:xfrm>
            <a:prstGeom prst="rect">
              <a:avLst/>
            </a:prstGeom>
          </p:spPr>
        </p:pic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FDABBE67-9045-4692-AC42-E9C11EEB361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870751" y="2718768"/>
              <a:ext cx="2010494" cy="1198919"/>
            </a:xfrm>
            <a:prstGeom prst="rect">
              <a:avLst/>
            </a:prstGeom>
          </p:spPr>
        </p:pic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92539A07-2305-4BAD-95A9-8D0536162A7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017419" y="2718768"/>
              <a:ext cx="2010494" cy="1198919"/>
            </a:xfrm>
            <a:prstGeom prst="rect">
              <a:avLst/>
            </a:prstGeom>
          </p:spPr>
        </p:pic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3ACD1984-89C4-4072-A4AD-BA4F0B34BF2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9724083" y="2718768"/>
              <a:ext cx="2010494" cy="1198919"/>
            </a:xfrm>
            <a:prstGeom prst="rect">
              <a:avLst/>
            </a:prstGeom>
          </p:spPr>
        </p:pic>
      </p:grp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6FD6A46F-4BDA-47E8-84E1-7663BC4654B9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1286933" cy="0"/>
          </a:xfrm>
          <a:prstGeom prst="line">
            <a:avLst/>
          </a:prstGeom>
          <a:ln w="254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C3755CF7-ED3B-4E33-95E2-44153A8961AF}"/>
              </a:ext>
            </a:extLst>
          </p:cNvPr>
          <p:cNvCxnSpPr>
            <a:cxnSpLocks/>
          </p:cNvCxnSpPr>
          <p:nvPr/>
        </p:nvCxnSpPr>
        <p:spPr>
          <a:xfrm>
            <a:off x="11832600" y="6264000"/>
            <a:ext cx="359400" cy="0"/>
          </a:xfrm>
          <a:prstGeom prst="line">
            <a:avLst/>
          </a:prstGeom>
          <a:ln w="762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661DE742-2C04-42EB-9E01-61A27FEB4A1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5706" y="2977166"/>
            <a:ext cx="1395307" cy="890407"/>
          </a:xfrm>
          <a:prstGeom prst="rect">
            <a:avLst/>
          </a:prstGeom>
        </p:spPr>
        <p:txBody>
          <a:bodyPr lIns="0" tIns="36000" rIns="0" bIns="0" anchor="ctr"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B7712E41-D76B-4E73-97DD-64F939A83D8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39038" y="2983795"/>
            <a:ext cx="1395307" cy="890407"/>
          </a:xfrm>
          <a:prstGeom prst="rect">
            <a:avLst/>
          </a:prstGeom>
        </p:spPr>
        <p:txBody>
          <a:bodyPr lIns="0" tIns="36000" rIns="0" bIns="0" anchor="ctr"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9B56E761-D7B7-4542-A4B8-779D261BA2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92370" y="2977167"/>
            <a:ext cx="1395307" cy="890407"/>
          </a:xfrm>
          <a:prstGeom prst="rect">
            <a:avLst/>
          </a:prstGeom>
        </p:spPr>
        <p:txBody>
          <a:bodyPr lIns="0" tIns="36000" rIns="0" bIns="0" anchor="ctr"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CEE5636E-1AA3-4A80-8839-318629DDCC8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45702" y="2983796"/>
            <a:ext cx="1395307" cy="890407"/>
          </a:xfrm>
          <a:prstGeom prst="rect">
            <a:avLst/>
          </a:prstGeom>
        </p:spPr>
        <p:txBody>
          <a:bodyPr lIns="0" tIns="36000" rIns="0" bIns="0" anchor="ctr"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F6CDF036-5B4C-49DC-8EA8-38B3B1B619B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99034" y="2970104"/>
            <a:ext cx="1395307" cy="890407"/>
          </a:xfrm>
          <a:prstGeom prst="rect">
            <a:avLst/>
          </a:prstGeom>
        </p:spPr>
        <p:txBody>
          <a:bodyPr lIns="0" tIns="36000" rIns="0" bIns="0" anchor="ctr"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137FE47E-2514-4884-B507-AA5F8CE397B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052366" y="2976733"/>
            <a:ext cx="1395307" cy="890407"/>
          </a:xfrm>
          <a:prstGeom prst="rect">
            <a:avLst/>
          </a:prstGeom>
        </p:spPr>
        <p:txBody>
          <a:bodyPr lIns="0" tIns="36000" rIns="0" bIns="0" anchor="ctr"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981072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on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ogo on top">
            <a:extLst>
              <a:ext uri="{FF2B5EF4-FFF2-40B4-BE49-F238E27FC236}">
                <a16:creationId xmlns:a16="http://schemas.microsoft.com/office/drawing/2014/main" id="{946C4B67-243B-42D4-B01A-C1E49052FDD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EC47C98D-4FAF-4675-81FB-E5A7BA12D88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71711" y="1612682"/>
            <a:ext cx="3432299" cy="3432299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your</a:t>
            </a:r>
            <a:r>
              <a:rPr lang="da-DK"/>
              <a:t> </a:t>
            </a:r>
            <a:r>
              <a:rPr lang="da-DK" err="1"/>
              <a:t>profile</a:t>
            </a:r>
            <a:r>
              <a:rPr lang="da-DK"/>
              <a:t> </a:t>
            </a:r>
            <a:r>
              <a:rPr lang="da-DK" err="1"/>
              <a:t>photo</a:t>
            </a:r>
            <a:endParaRPr lang="da-DK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468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headline</a:t>
            </a:r>
            <a:endParaRPr lang="da-DK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EE3518A-31DE-4BA4-B16D-9E6E3BD221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28694" y="1455773"/>
            <a:ext cx="5273589" cy="619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a-DK" err="1"/>
              <a:t>Get</a:t>
            </a:r>
            <a:r>
              <a:rPr lang="da-DK"/>
              <a:t> in touch with </a:t>
            </a:r>
            <a:r>
              <a:rPr lang="da-DK" err="1"/>
              <a:t>us</a:t>
            </a:r>
            <a:endParaRPr lang="da-DK"/>
          </a:p>
          <a:p>
            <a:pPr lvl="0"/>
            <a:endParaRPr lang="da-DK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7196662-DAC2-4CA1-930C-3729480FED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28694" y="2266848"/>
            <a:ext cx="4159909" cy="289931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a-DK" err="1"/>
              <a:t>Name</a:t>
            </a:r>
            <a:r>
              <a:rPr lang="da-DK"/>
              <a:t> </a:t>
            </a:r>
            <a:r>
              <a:rPr lang="da-DK" err="1"/>
              <a:t>name</a:t>
            </a:r>
            <a:br>
              <a:rPr lang="da-DK"/>
            </a:br>
            <a:r>
              <a:rPr lang="da-DK"/>
              <a:t>Title </a:t>
            </a:r>
            <a:br>
              <a:rPr lang="da-DK"/>
            </a:br>
            <a:r>
              <a:rPr lang="da-DK" err="1"/>
              <a:t>Area</a:t>
            </a:r>
            <a:r>
              <a:rPr lang="da-DK"/>
              <a:t> of </a:t>
            </a:r>
            <a:r>
              <a:rPr lang="da-DK" err="1"/>
              <a:t>expertise</a:t>
            </a:r>
            <a:br>
              <a:rPr lang="da-DK"/>
            </a:br>
            <a:r>
              <a:rPr lang="da-DK" err="1"/>
              <a:t>Email@dress</a:t>
            </a:r>
            <a:br>
              <a:rPr lang="da-DK"/>
            </a:br>
            <a:r>
              <a:rPr lang="da-DK"/>
              <a:t>Phone </a:t>
            </a:r>
            <a:r>
              <a:rPr lang="da-DK" err="1"/>
              <a:t>number</a:t>
            </a:r>
            <a:br>
              <a:rPr lang="da-DK"/>
            </a:br>
            <a:br>
              <a:rPr lang="da-DK"/>
            </a:br>
            <a:r>
              <a:rPr lang="da-DK"/>
              <a:t>Country</a:t>
            </a:r>
            <a:br>
              <a:rPr lang="da-DK"/>
            </a:br>
            <a:r>
              <a:rPr lang="da-DK"/>
              <a:t>Office, </a:t>
            </a:r>
            <a:r>
              <a:rPr lang="da-DK" err="1"/>
              <a:t>Adress</a:t>
            </a:r>
            <a:endParaRPr lang="da-DK"/>
          </a:p>
        </p:txBody>
      </p:sp>
      <p:sp>
        <p:nvSpPr>
          <p:cNvPr id="9" name="Shape 2587">
            <a:extLst>
              <a:ext uri="{FF2B5EF4-FFF2-40B4-BE49-F238E27FC236}">
                <a16:creationId xmlns:a16="http://schemas.microsoft.com/office/drawing/2014/main" id="{432A4CED-5616-4E9A-B10E-D27920EBC843}"/>
              </a:ext>
            </a:extLst>
          </p:cNvPr>
          <p:cNvSpPr/>
          <p:nvPr/>
        </p:nvSpPr>
        <p:spPr>
          <a:xfrm>
            <a:off x="9505707" y="4168822"/>
            <a:ext cx="1247493" cy="124749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28575">
            <a:solidFill>
              <a:schemeClr val="accent6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da-DK" sz="2999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413246E-D93A-477D-BF35-02BC977EAE65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1286933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AF27D93-742A-4F94-98F6-A82640D02791}"/>
              </a:ext>
            </a:extLst>
          </p:cNvPr>
          <p:cNvCxnSpPr>
            <a:cxnSpLocks/>
          </p:cNvCxnSpPr>
          <p:nvPr/>
        </p:nvCxnSpPr>
        <p:spPr>
          <a:xfrm>
            <a:off x="11832600" y="6264000"/>
            <a:ext cx="3594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59261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3" pos="3331" userDrawn="1">
          <p15:clr>
            <a:srgbClr val="A4A3A4"/>
          </p15:clr>
        </p15:guide>
        <p15:guide id="4" pos="5952" userDrawn="1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mor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ogo on top">
            <a:extLst>
              <a:ext uri="{FF2B5EF4-FFF2-40B4-BE49-F238E27FC236}">
                <a16:creationId xmlns:a16="http://schemas.microsoft.com/office/drawing/2014/main" id="{946C4B67-243B-42D4-B01A-C1E49052FDD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EC47C98D-4FAF-4675-81FB-E5A7BA12D88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005865" y="1908286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your</a:t>
            </a:r>
            <a:r>
              <a:rPr lang="da-DK"/>
              <a:t> </a:t>
            </a:r>
            <a:r>
              <a:rPr lang="da-DK" err="1"/>
              <a:t>profile</a:t>
            </a:r>
            <a:r>
              <a:rPr lang="da-DK"/>
              <a:t> </a:t>
            </a:r>
            <a:r>
              <a:rPr lang="da-DK" err="1"/>
              <a:t>photo</a:t>
            </a:r>
            <a:endParaRPr lang="da-DK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DB094E42-9A37-4B00-9234-25C4C48045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678940" y="1912751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your</a:t>
            </a:r>
            <a:r>
              <a:rPr lang="da-DK"/>
              <a:t> </a:t>
            </a:r>
            <a:r>
              <a:rPr lang="da-DK" err="1"/>
              <a:t>profile</a:t>
            </a:r>
            <a:r>
              <a:rPr lang="da-DK"/>
              <a:t> </a:t>
            </a:r>
            <a:r>
              <a:rPr lang="da-DK" err="1"/>
              <a:t>photo</a:t>
            </a:r>
            <a:endParaRPr lang="da-DK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EE3518A-31DE-4BA4-B16D-9E6E3BD221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4224" y="1188143"/>
            <a:ext cx="5273589" cy="619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a-DK" err="1"/>
              <a:t>Get</a:t>
            </a:r>
            <a:r>
              <a:rPr lang="da-DK"/>
              <a:t> in touch with </a:t>
            </a:r>
            <a:r>
              <a:rPr lang="da-DK" err="1"/>
              <a:t>us</a:t>
            </a:r>
            <a:endParaRPr lang="da-DK"/>
          </a:p>
          <a:p>
            <a:pPr lvl="0"/>
            <a:endParaRPr lang="da-DK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7196662-DAC2-4CA1-930C-3729480FED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58909" y="4473911"/>
            <a:ext cx="2932771" cy="15951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a-DK" err="1"/>
              <a:t>Name</a:t>
            </a:r>
            <a:r>
              <a:rPr lang="da-DK"/>
              <a:t> </a:t>
            </a:r>
            <a:r>
              <a:rPr lang="da-DK" err="1"/>
              <a:t>name</a:t>
            </a:r>
            <a:r>
              <a:rPr lang="da-DK"/>
              <a:t>, Title </a:t>
            </a:r>
            <a:br>
              <a:rPr lang="da-DK"/>
            </a:br>
            <a:r>
              <a:rPr lang="da-DK" err="1"/>
              <a:t>Area</a:t>
            </a:r>
            <a:r>
              <a:rPr lang="da-DK"/>
              <a:t> of </a:t>
            </a:r>
            <a:r>
              <a:rPr lang="da-DK" err="1"/>
              <a:t>expertise</a:t>
            </a:r>
            <a:br>
              <a:rPr lang="da-DK"/>
            </a:br>
            <a:r>
              <a:rPr lang="da-DK" err="1"/>
              <a:t>Email@dress</a:t>
            </a:r>
            <a:br>
              <a:rPr lang="da-DK"/>
            </a:br>
            <a:r>
              <a:rPr lang="da-DK"/>
              <a:t>Phone </a:t>
            </a:r>
            <a:r>
              <a:rPr lang="da-DK" err="1"/>
              <a:t>number</a:t>
            </a:r>
            <a:endParaRPr lang="da-DK"/>
          </a:p>
          <a:p>
            <a:pPr lvl="0"/>
            <a:endParaRPr lang="da-DK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88BFC77-7CFE-4B3B-946E-04A84656BC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31984" y="4478376"/>
            <a:ext cx="2932771" cy="15951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a-DK" err="1"/>
              <a:t>Name</a:t>
            </a:r>
            <a:r>
              <a:rPr lang="da-DK"/>
              <a:t> </a:t>
            </a:r>
            <a:r>
              <a:rPr lang="da-DK" err="1"/>
              <a:t>name</a:t>
            </a:r>
            <a:r>
              <a:rPr lang="da-DK"/>
              <a:t>, Title </a:t>
            </a:r>
            <a:br>
              <a:rPr lang="da-DK"/>
            </a:br>
            <a:r>
              <a:rPr lang="da-DK" err="1"/>
              <a:t>Area</a:t>
            </a:r>
            <a:r>
              <a:rPr lang="da-DK"/>
              <a:t> of </a:t>
            </a:r>
            <a:r>
              <a:rPr lang="da-DK" err="1"/>
              <a:t>expertise</a:t>
            </a:r>
            <a:br>
              <a:rPr lang="da-DK"/>
            </a:br>
            <a:r>
              <a:rPr lang="da-DK" err="1"/>
              <a:t>Email@dress</a:t>
            </a:r>
            <a:br>
              <a:rPr lang="da-DK"/>
            </a:br>
            <a:r>
              <a:rPr lang="da-DK"/>
              <a:t>Phone </a:t>
            </a:r>
            <a:r>
              <a:rPr lang="da-DK" err="1"/>
              <a:t>number</a:t>
            </a:r>
            <a:endParaRPr lang="da-DK"/>
          </a:p>
          <a:p>
            <a:pPr lvl="0"/>
            <a:endParaRPr lang="da-DK"/>
          </a:p>
        </p:txBody>
      </p:sp>
      <p:sp>
        <p:nvSpPr>
          <p:cNvPr id="26" name="Shape 2587">
            <a:extLst>
              <a:ext uri="{FF2B5EF4-FFF2-40B4-BE49-F238E27FC236}">
                <a16:creationId xmlns:a16="http://schemas.microsoft.com/office/drawing/2014/main" id="{01107A37-C368-49C5-9DC7-A94D9D426028}"/>
              </a:ext>
            </a:extLst>
          </p:cNvPr>
          <p:cNvSpPr/>
          <p:nvPr/>
        </p:nvSpPr>
        <p:spPr>
          <a:xfrm>
            <a:off x="9749466" y="345564"/>
            <a:ext cx="1432437" cy="143243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34925">
            <a:solidFill>
              <a:schemeClr val="accent6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da-DK" sz="2999"/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BC160E0F-93DC-49D5-B6A1-6715CEABFB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468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headline</a:t>
            </a:r>
            <a:endParaRPr lang="da-DK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F3027CDC-831D-4211-A77C-0F4FCEEEEC5F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1286933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AA44E9D-E048-4682-A65B-A566A9C6DCD2}"/>
              </a:ext>
            </a:extLst>
          </p:cNvPr>
          <p:cNvCxnSpPr>
            <a:cxnSpLocks/>
          </p:cNvCxnSpPr>
          <p:nvPr/>
        </p:nvCxnSpPr>
        <p:spPr>
          <a:xfrm>
            <a:off x="11832600" y="6264000"/>
            <a:ext cx="3594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71856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act mor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ogo on top">
            <a:extLst>
              <a:ext uri="{FF2B5EF4-FFF2-40B4-BE49-F238E27FC236}">
                <a16:creationId xmlns:a16="http://schemas.microsoft.com/office/drawing/2014/main" id="{946C4B67-243B-42D4-B01A-C1E49052FDD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DB094E42-9A37-4B00-9234-25C4C48045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212865" y="2014036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your</a:t>
            </a:r>
            <a:r>
              <a:rPr lang="da-DK"/>
              <a:t> </a:t>
            </a:r>
            <a:r>
              <a:rPr lang="da-DK" err="1"/>
              <a:t>profile</a:t>
            </a:r>
            <a:r>
              <a:rPr lang="da-DK"/>
              <a:t> </a:t>
            </a:r>
            <a:r>
              <a:rPr lang="da-DK" err="1"/>
              <a:t>photo</a:t>
            </a:r>
            <a:endParaRPr lang="da-DK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93CB2D3-EFC7-4338-AA06-89906240639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816581" y="2005106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your</a:t>
            </a:r>
            <a:r>
              <a:rPr lang="da-DK"/>
              <a:t> </a:t>
            </a:r>
            <a:r>
              <a:rPr lang="da-DK" err="1"/>
              <a:t>profile</a:t>
            </a:r>
            <a:r>
              <a:rPr lang="da-DK"/>
              <a:t> </a:t>
            </a:r>
            <a:r>
              <a:rPr lang="da-DK" err="1"/>
              <a:t>photo</a:t>
            </a:r>
            <a:endParaRPr lang="da-DK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C18D02F3-399A-493B-8D9C-01466A1940F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325084" y="2009571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your</a:t>
            </a:r>
            <a:r>
              <a:rPr lang="da-DK"/>
              <a:t> </a:t>
            </a:r>
            <a:r>
              <a:rPr lang="da-DK" err="1"/>
              <a:t>profile</a:t>
            </a:r>
            <a:r>
              <a:rPr lang="da-DK"/>
              <a:t> </a:t>
            </a:r>
            <a:r>
              <a:rPr lang="da-DK" err="1"/>
              <a:t>photo</a:t>
            </a:r>
            <a:endParaRPr lang="da-DK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EE3518A-31DE-4BA4-B16D-9E6E3BD221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4224" y="1188143"/>
            <a:ext cx="5273589" cy="619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a-DK" err="1"/>
              <a:t>Get</a:t>
            </a:r>
            <a:r>
              <a:rPr lang="da-DK"/>
              <a:t> in touch with </a:t>
            </a:r>
            <a:r>
              <a:rPr lang="da-DK" err="1"/>
              <a:t>us</a:t>
            </a:r>
            <a:endParaRPr lang="da-DK"/>
          </a:p>
          <a:p>
            <a:pPr lvl="0"/>
            <a:endParaRPr lang="da-DK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88BFC77-7CFE-4B3B-946E-04A84656BC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65909" y="4579661"/>
            <a:ext cx="2932771" cy="15951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a-DK" err="1"/>
              <a:t>Name</a:t>
            </a:r>
            <a:r>
              <a:rPr lang="da-DK"/>
              <a:t> </a:t>
            </a:r>
            <a:r>
              <a:rPr lang="da-DK" err="1"/>
              <a:t>name</a:t>
            </a:r>
            <a:r>
              <a:rPr lang="da-DK"/>
              <a:t>, Title </a:t>
            </a:r>
            <a:br>
              <a:rPr lang="da-DK"/>
            </a:br>
            <a:r>
              <a:rPr lang="da-DK" err="1"/>
              <a:t>Area</a:t>
            </a:r>
            <a:r>
              <a:rPr lang="da-DK"/>
              <a:t> of </a:t>
            </a:r>
            <a:r>
              <a:rPr lang="da-DK" err="1"/>
              <a:t>expertise</a:t>
            </a:r>
            <a:br>
              <a:rPr lang="da-DK"/>
            </a:br>
            <a:r>
              <a:rPr lang="da-DK" err="1"/>
              <a:t>Email@dress</a:t>
            </a:r>
            <a:br>
              <a:rPr lang="da-DK"/>
            </a:br>
            <a:r>
              <a:rPr lang="da-DK"/>
              <a:t>Phone </a:t>
            </a:r>
            <a:r>
              <a:rPr lang="da-DK" err="1"/>
              <a:t>number</a:t>
            </a:r>
            <a:endParaRPr lang="da-DK"/>
          </a:p>
          <a:p>
            <a:pPr lvl="0"/>
            <a:endParaRPr lang="da-DK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3E95A0A-5895-4DE1-9E81-3CB2EC1F7D2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69625" y="4570731"/>
            <a:ext cx="2932771" cy="15951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a-DK" err="1"/>
              <a:t>Name</a:t>
            </a:r>
            <a:r>
              <a:rPr lang="da-DK"/>
              <a:t> </a:t>
            </a:r>
            <a:r>
              <a:rPr lang="da-DK" err="1"/>
              <a:t>name</a:t>
            </a:r>
            <a:r>
              <a:rPr lang="da-DK"/>
              <a:t>, Title </a:t>
            </a:r>
            <a:br>
              <a:rPr lang="da-DK"/>
            </a:br>
            <a:r>
              <a:rPr lang="da-DK" err="1"/>
              <a:t>Area</a:t>
            </a:r>
            <a:r>
              <a:rPr lang="da-DK"/>
              <a:t> of </a:t>
            </a:r>
            <a:r>
              <a:rPr lang="da-DK" err="1"/>
              <a:t>expertise</a:t>
            </a:r>
            <a:br>
              <a:rPr lang="da-DK"/>
            </a:br>
            <a:r>
              <a:rPr lang="da-DK" err="1"/>
              <a:t>Email@dress</a:t>
            </a:r>
            <a:br>
              <a:rPr lang="da-DK"/>
            </a:br>
            <a:r>
              <a:rPr lang="da-DK"/>
              <a:t>Phone </a:t>
            </a:r>
            <a:r>
              <a:rPr lang="da-DK" err="1"/>
              <a:t>number</a:t>
            </a:r>
            <a:endParaRPr lang="da-DK"/>
          </a:p>
          <a:p>
            <a:pPr lvl="0"/>
            <a:endParaRPr lang="da-DK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31E9205-4001-4C76-9474-A0F6D15DAD6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78128" y="4575196"/>
            <a:ext cx="2932771" cy="15951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a-DK" err="1"/>
              <a:t>Name</a:t>
            </a:r>
            <a:r>
              <a:rPr lang="da-DK"/>
              <a:t> </a:t>
            </a:r>
            <a:r>
              <a:rPr lang="da-DK" err="1"/>
              <a:t>name</a:t>
            </a:r>
            <a:r>
              <a:rPr lang="da-DK"/>
              <a:t>, Title </a:t>
            </a:r>
            <a:br>
              <a:rPr lang="da-DK"/>
            </a:br>
            <a:r>
              <a:rPr lang="da-DK" err="1"/>
              <a:t>Area</a:t>
            </a:r>
            <a:r>
              <a:rPr lang="da-DK"/>
              <a:t> of </a:t>
            </a:r>
            <a:r>
              <a:rPr lang="da-DK" err="1"/>
              <a:t>expertise</a:t>
            </a:r>
            <a:br>
              <a:rPr lang="da-DK"/>
            </a:br>
            <a:r>
              <a:rPr lang="da-DK" err="1"/>
              <a:t>Email@dress</a:t>
            </a:r>
            <a:br>
              <a:rPr lang="da-DK"/>
            </a:br>
            <a:r>
              <a:rPr lang="da-DK"/>
              <a:t>Phone </a:t>
            </a:r>
            <a:r>
              <a:rPr lang="da-DK" err="1"/>
              <a:t>number</a:t>
            </a:r>
            <a:endParaRPr lang="da-DK"/>
          </a:p>
          <a:p>
            <a:pPr lvl="0"/>
            <a:endParaRPr lang="da-DK"/>
          </a:p>
        </p:txBody>
      </p:sp>
      <p:sp>
        <p:nvSpPr>
          <p:cNvPr id="26" name="Shape 2587">
            <a:extLst>
              <a:ext uri="{FF2B5EF4-FFF2-40B4-BE49-F238E27FC236}">
                <a16:creationId xmlns:a16="http://schemas.microsoft.com/office/drawing/2014/main" id="{01107A37-C368-49C5-9DC7-A94D9D426028}"/>
              </a:ext>
            </a:extLst>
          </p:cNvPr>
          <p:cNvSpPr/>
          <p:nvPr/>
        </p:nvSpPr>
        <p:spPr>
          <a:xfrm>
            <a:off x="9749466" y="345564"/>
            <a:ext cx="1432437" cy="143243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34925">
            <a:solidFill>
              <a:schemeClr val="accent6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da-DK" sz="2999"/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BC160E0F-93DC-49D5-B6A1-6715CEABFB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468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headline</a:t>
            </a:r>
            <a:endParaRPr lang="da-DK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F3027CDC-831D-4211-A77C-0F4FCEEEEC5F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1286933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AA44E9D-E048-4682-A65B-A566A9C6DCD2}"/>
              </a:ext>
            </a:extLst>
          </p:cNvPr>
          <p:cNvCxnSpPr>
            <a:cxnSpLocks/>
          </p:cNvCxnSpPr>
          <p:nvPr/>
        </p:nvCxnSpPr>
        <p:spPr>
          <a:xfrm>
            <a:off x="11832600" y="6264000"/>
            <a:ext cx="3594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08502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ntact mor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ogo on top">
            <a:extLst>
              <a:ext uri="{FF2B5EF4-FFF2-40B4-BE49-F238E27FC236}">
                <a16:creationId xmlns:a16="http://schemas.microsoft.com/office/drawing/2014/main" id="{946C4B67-243B-42D4-B01A-C1E49052FDD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EC47C98D-4FAF-4675-81FB-E5A7BA12D88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08516" y="2009571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your</a:t>
            </a:r>
            <a:r>
              <a:rPr lang="da-DK"/>
              <a:t> </a:t>
            </a:r>
            <a:r>
              <a:rPr lang="da-DK" err="1"/>
              <a:t>profile</a:t>
            </a:r>
            <a:r>
              <a:rPr lang="da-DK"/>
              <a:t> </a:t>
            </a:r>
            <a:r>
              <a:rPr lang="da-DK" err="1"/>
              <a:t>photo</a:t>
            </a:r>
            <a:endParaRPr lang="da-DK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DB094E42-9A37-4B00-9234-25C4C48045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441287" y="2014036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your</a:t>
            </a:r>
            <a:r>
              <a:rPr lang="da-DK"/>
              <a:t> </a:t>
            </a:r>
            <a:r>
              <a:rPr lang="da-DK" err="1"/>
              <a:t>profile</a:t>
            </a:r>
            <a:r>
              <a:rPr lang="da-DK"/>
              <a:t> </a:t>
            </a:r>
            <a:r>
              <a:rPr lang="da-DK" err="1"/>
              <a:t>photo</a:t>
            </a:r>
            <a:endParaRPr lang="da-DK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93CB2D3-EFC7-4338-AA06-89906240639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313486" y="2005106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your</a:t>
            </a:r>
            <a:r>
              <a:rPr lang="da-DK"/>
              <a:t> </a:t>
            </a:r>
            <a:r>
              <a:rPr lang="da-DK" err="1"/>
              <a:t>profile</a:t>
            </a:r>
            <a:r>
              <a:rPr lang="da-DK"/>
              <a:t> </a:t>
            </a:r>
            <a:r>
              <a:rPr lang="da-DK" err="1"/>
              <a:t>photo</a:t>
            </a:r>
            <a:endParaRPr lang="da-DK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C18D02F3-399A-493B-8D9C-01466A1940F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246257" y="2009571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your</a:t>
            </a:r>
            <a:r>
              <a:rPr lang="da-DK"/>
              <a:t> </a:t>
            </a:r>
            <a:r>
              <a:rPr lang="da-DK" err="1"/>
              <a:t>profile</a:t>
            </a:r>
            <a:r>
              <a:rPr lang="da-DK"/>
              <a:t> </a:t>
            </a:r>
            <a:r>
              <a:rPr lang="da-DK" err="1"/>
              <a:t>photo</a:t>
            </a:r>
            <a:endParaRPr lang="da-DK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EE3518A-31DE-4BA4-B16D-9E6E3BD221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4224" y="1188143"/>
            <a:ext cx="5273589" cy="619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a-DK" err="1"/>
              <a:t>Get</a:t>
            </a:r>
            <a:r>
              <a:rPr lang="da-DK"/>
              <a:t> in touch with </a:t>
            </a:r>
            <a:r>
              <a:rPr lang="da-DK" err="1"/>
              <a:t>us</a:t>
            </a:r>
            <a:endParaRPr lang="da-DK"/>
          </a:p>
          <a:p>
            <a:pPr lvl="0"/>
            <a:endParaRPr lang="da-DK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7196662-DAC2-4CA1-930C-3729480FED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1560" y="4575196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a-DK" err="1"/>
              <a:t>Name</a:t>
            </a:r>
            <a:r>
              <a:rPr lang="da-DK"/>
              <a:t> </a:t>
            </a:r>
            <a:r>
              <a:rPr lang="da-DK" err="1"/>
              <a:t>name</a:t>
            </a:r>
            <a:r>
              <a:rPr lang="da-DK"/>
              <a:t>, Title </a:t>
            </a:r>
            <a:br>
              <a:rPr lang="da-DK"/>
            </a:br>
            <a:r>
              <a:rPr lang="da-DK" err="1"/>
              <a:t>Area</a:t>
            </a:r>
            <a:r>
              <a:rPr lang="da-DK"/>
              <a:t> of </a:t>
            </a:r>
            <a:r>
              <a:rPr lang="da-DK" err="1"/>
              <a:t>expertise</a:t>
            </a:r>
            <a:br>
              <a:rPr lang="da-DK"/>
            </a:br>
            <a:r>
              <a:rPr lang="da-DK" err="1"/>
              <a:t>Email@dress</a:t>
            </a:r>
            <a:br>
              <a:rPr lang="da-DK"/>
            </a:br>
            <a:r>
              <a:rPr lang="da-DK"/>
              <a:t>Phone </a:t>
            </a:r>
            <a:r>
              <a:rPr lang="da-DK" err="1"/>
              <a:t>number</a:t>
            </a:r>
            <a:endParaRPr lang="da-DK"/>
          </a:p>
          <a:p>
            <a:pPr lvl="0"/>
            <a:endParaRPr lang="da-DK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88BFC77-7CFE-4B3B-946E-04A84656BC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94331" y="4579661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a-DK" err="1"/>
              <a:t>Name</a:t>
            </a:r>
            <a:r>
              <a:rPr lang="da-DK"/>
              <a:t> </a:t>
            </a:r>
            <a:r>
              <a:rPr lang="da-DK" err="1"/>
              <a:t>name</a:t>
            </a:r>
            <a:r>
              <a:rPr lang="da-DK"/>
              <a:t>, Title </a:t>
            </a:r>
            <a:br>
              <a:rPr lang="da-DK"/>
            </a:br>
            <a:r>
              <a:rPr lang="da-DK" err="1"/>
              <a:t>Area</a:t>
            </a:r>
            <a:r>
              <a:rPr lang="da-DK"/>
              <a:t> of </a:t>
            </a:r>
            <a:r>
              <a:rPr lang="da-DK" err="1"/>
              <a:t>expertise</a:t>
            </a:r>
            <a:br>
              <a:rPr lang="da-DK"/>
            </a:br>
            <a:r>
              <a:rPr lang="da-DK" err="1"/>
              <a:t>Email@dress</a:t>
            </a:r>
            <a:br>
              <a:rPr lang="da-DK"/>
            </a:br>
            <a:r>
              <a:rPr lang="da-DK"/>
              <a:t>Phone </a:t>
            </a:r>
            <a:r>
              <a:rPr lang="da-DK" err="1"/>
              <a:t>number</a:t>
            </a:r>
            <a:endParaRPr lang="da-DK"/>
          </a:p>
          <a:p>
            <a:pPr lvl="0"/>
            <a:endParaRPr lang="da-DK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3E95A0A-5895-4DE1-9E81-3CB2EC1F7D2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66530" y="4570731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a-DK" err="1"/>
              <a:t>Name</a:t>
            </a:r>
            <a:r>
              <a:rPr lang="da-DK"/>
              <a:t> </a:t>
            </a:r>
            <a:r>
              <a:rPr lang="da-DK" err="1"/>
              <a:t>name</a:t>
            </a:r>
            <a:r>
              <a:rPr lang="da-DK"/>
              <a:t>, Title </a:t>
            </a:r>
            <a:br>
              <a:rPr lang="da-DK"/>
            </a:br>
            <a:r>
              <a:rPr lang="da-DK" err="1"/>
              <a:t>Area</a:t>
            </a:r>
            <a:r>
              <a:rPr lang="da-DK"/>
              <a:t> of </a:t>
            </a:r>
            <a:r>
              <a:rPr lang="da-DK" err="1"/>
              <a:t>expertise</a:t>
            </a:r>
            <a:br>
              <a:rPr lang="da-DK"/>
            </a:br>
            <a:r>
              <a:rPr lang="da-DK" err="1"/>
              <a:t>Email@dress</a:t>
            </a:r>
            <a:br>
              <a:rPr lang="da-DK"/>
            </a:br>
            <a:r>
              <a:rPr lang="da-DK"/>
              <a:t>Phone </a:t>
            </a:r>
            <a:r>
              <a:rPr lang="da-DK" err="1"/>
              <a:t>number</a:t>
            </a:r>
            <a:endParaRPr lang="da-DK"/>
          </a:p>
          <a:p>
            <a:pPr lvl="0"/>
            <a:endParaRPr lang="da-DK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31E9205-4001-4C76-9474-A0F6D15DAD6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9301" y="4575196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a-DK" err="1"/>
              <a:t>Name</a:t>
            </a:r>
            <a:r>
              <a:rPr lang="da-DK"/>
              <a:t> </a:t>
            </a:r>
            <a:r>
              <a:rPr lang="da-DK" err="1"/>
              <a:t>name</a:t>
            </a:r>
            <a:r>
              <a:rPr lang="da-DK"/>
              <a:t>, Title </a:t>
            </a:r>
            <a:br>
              <a:rPr lang="da-DK"/>
            </a:br>
            <a:r>
              <a:rPr lang="da-DK" err="1"/>
              <a:t>Area</a:t>
            </a:r>
            <a:r>
              <a:rPr lang="da-DK"/>
              <a:t> of </a:t>
            </a:r>
            <a:r>
              <a:rPr lang="da-DK" err="1"/>
              <a:t>expertise</a:t>
            </a:r>
            <a:br>
              <a:rPr lang="da-DK"/>
            </a:br>
            <a:r>
              <a:rPr lang="da-DK" err="1"/>
              <a:t>Email@dress</a:t>
            </a:r>
            <a:br>
              <a:rPr lang="da-DK"/>
            </a:br>
            <a:r>
              <a:rPr lang="da-DK"/>
              <a:t>Phone </a:t>
            </a:r>
            <a:r>
              <a:rPr lang="da-DK" err="1"/>
              <a:t>number</a:t>
            </a:r>
            <a:endParaRPr lang="da-DK"/>
          </a:p>
          <a:p>
            <a:pPr lvl="0"/>
            <a:endParaRPr lang="da-DK"/>
          </a:p>
        </p:txBody>
      </p:sp>
      <p:sp>
        <p:nvSpPr>
          <p:cNvPr id="21" name="Shape 2587">
            <a:extLst>
              <a:ext uri="{FF2B5EF4-FFF2-40B4-BE49-F238E27FC236}">
                <a16:creationId xmlns:a16="http://schemas.microsoft.com/office/drawing/2014/main" id="{23DAFFB4-00DA-4452-83BB-BDB5BE2756B7}"/>
              </a:ext>
            </a:extLst>
          </p:cNvPr>
          <p:cNvSpPr/>
          <p:nvPr/>
        </p:nvSpPr>
        <p:spPr>
          <a:xfrm>
            <a:off x="9749466" y="345564"/>
            <a:ext cx="1432437" cy="143243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34925">
            <a:solidFill>
              <a:schemeClr val="accent6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da-DK" sz="2999"/>
          </a:p>
        </p:txBody>
      </p: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6BED3069-40A8-4BFA-8626-6850E547AB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468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headline</a:t>
            </a:r>
            <a:endParaRPr lang="da-DK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9290BEB-385D-4EAC-8711-F8EB670945EE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1286933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60AAEB7-5606-4B4B-8660-7DE1F730504E}"/>
              </a:ext>
            </a:extLst>
          </p:cNvPr>
          <p:cNvCxnSpPr>
            <a:cxnSpLocks/>
          </p:cNvCxnSpPr>
          <p:nvPr/>
        </p:nvCxnSpPr>
        <p:spPr>
          <a:xfrm>
            <a:off x="11832600" y="6264000"/>
            <a:ext cx="3594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93423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act mor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ogo on top">
            <a:extLst>
              <a:ext uri="{FF2B5EF4-FFF2-40B4-BE49-F238E27FC236}">
                <a16:creationId xmlns:a16="http://schemas.microsoft.com/office/drawing/2014/main" id="{946C4B67-243B-42D4-B01A-C1E49052FDD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EC47C98D-4FAF-4675-81FB-E5A7BA12D88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08516" y="2009571"/>
            <a:ext cx="1875337" cy="187533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your</a:t>
            </a:r>
            <a:r>
              <a:rPr lang="da-DK"/>
              <a:t> </a:t>
            </a:r>
            <a:r>
              <a:rPr lang="da-DK" err="1"/>
              <a:t>profile</a:t>
            </a:r>
            <a:r>
              <a:rPr lang="da-DK"/>
              <a:t> </a:t>
            </a:r>
            <a:r>
              <a:rPr lang="da-DK" err="1"/>
              <a:t>photo</a:t>
            </a:r>
            <a:endParaRPr lang="da-DK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DB094E42-9A37-4B00-9234-25C4C48045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848974" y="2081769"/>
            <a:ext cx="1875337" cy="187533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your</a:t>
            </a:r>
            <a:r>
              <a:rPr lang="da-DK"/>
              <a:t> </a:t>
            </a:r>
            <a:r>
              <a:rPr lang="da-DK" err="1"/>
              <a:t>profile</a:t>
            </a:r>
            <a:r>
              <a:rPr lang="da-DK"/>
              <a:t> </a:t>
            </a:r>
            <a:r>
              <a:rPr lang="da-DK" err="1"/>
              <a:t>photo</a:t>
            </a:r>
            <a:endParaRPr lang="da-DK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93CB2D3-EFC7-4338-AA06-89906240639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189433" y="2009571"/>
            <a:ext cx="1875337" cy="187533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your</a:t>
            </a:r>
            <a:r>
              <a:rPr lang="da-DK"/>
              <a:t> </a:t>
            </a:r>
            <a:r>
              <a:rPr lang="da-DK" err="1"/>
              <a:t>profile</a:t>
            </a:r>
            <a:r>
              <a:rPr lang="da-DK"/>
              <a:t> </a:t>
            </a:r>
            <a:r>
              <a:rPr lang="da-DK" err="1"/>
              <a:t>photo</a:t>
            </a:r>
            <a:endParaRPr lang="da-DK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C18D02F3-399A-493B-8D9C-01466A1940F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870349" y="2009570"/>
            <a:ext cx="1875337" cy="187533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your</a:t>
            </a:r>
            <a:r>
              <a:rPr lang="da-DK"/>
              <a:t> </a:t>
            </a:r>
            <a:r>
              <a:rPr lang="da-DK" err="1"/>
              <a:t>profile</a:t>
            </a:r>
            <a:r>
              <a:rPr lang="da-DK"/>
              <a:t> </a:t>
            </a:r>
            <a:r>
              <a:rPr lang="da-DK" err="1"/>
              <a:t>photo</a:t>
            </a:r>
            <a:endParaRPr lang="da-DK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EE3518A-31DE-4BA4-B16D-9E6E3BD221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4224" y="1188143"/>
            <a:ext cx="5273589" cy="619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a-DK" err="1"/>
              <a:t>Get</a:t>
            </a:r>
            <a:r>
              <a:rPr lang="da-DK"/>
              <a:t> in touch with </a:t>
            </a:r>
            <a:r>
              <a:rPr lang="da-DK" err="1"/>
              <a:t>us</a:t>
            </a:r>
            <a:endParaRPr lang="da-DK"/>
          </a:p>
          <a:p>
            <a:pPr lvl="0"/>
            <a:endParaRPr lang="da-DK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7196662-DAC2-4CA1-930C-3729480FED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8784" y="4071807"/>
            <a:ext cx="2020830" cy="15951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a-DK" err="1"/>
              <a:t>Name</a:t>
            </a:r>
            <a:r>
              <a:rPr lang="da-DK"/>
              <a:t> </a:t>
            </a:r>
            <a:r>
              <a:rPr lang="da-DK" err="1"/>
              <a:t>name</a:t>
            </a:r>
            <a:r>
              <a:rPr lang="da-DK"/>
              <a:t>, Title </a:t>
            </a:r>
            <a:br>
              <a:rPr lang="da-DK"/>
            </a:br>
            <a:r>
              <a:rPr lang="da-DK" err="1"/>
              <a:t>Area</a:t>
            </a:r>
            <a:r>
              <a:rPr lang="da-DK"/>
              <a:t> of </a:t>
            </a:r>
            <a:r>
              <a:rPr lang="da-DK" err="1"/>
              <a:t>expertise</a:t>
            </a:r>
            <a:br>
              <a:rPr lang="da-DK"/>
            </a:br>
            <a:r>
              <a:rPr lang="da-DK" err="1"/>
              <a:t>Email@dress</a:t>
            </a:r>
            <a:br>
              <a:rPr lang="da-DK"/>
            </a:br>
            <a:r>
              <a:rPr lang="da-DK"/>
              <a:t>Phone </a:t>
            </a:r>
            <a:r>
              <a:rPr lang="da-DK" err="1"/>
              <a:t>number</a:t>
            </a:r>
            <a:endParaRPr lang="da-DK"/>
          </a:p>
          <a:p>
            <a:pPr lvl="0"/>
            <a:endParaRPr lang="da-DK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88BFC77-7CFE-4B3B-946E-04A84656BC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97707" y="4066066"/>
            <a:ext cx="2020830" cy="15951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a-DK" err="1"/>
              <a:t>Name</a:t>
            </a:r>
            <a:r>
              <a:rPr lang="da-DK"/>
              <a:t> </a:t>
            </a:r>
            <a:r>
              <a:rPr lang="da-DK" err="1"/>
              <a:t>name</a:t>
            </a:r>
            <a:r>
              <a:rPr lang="da-DK"/>
              <a:t>, Title </a:t>
            </a:r>
            <a:br>
              <a:rPr lang="da-DK"/>
            </a:br>
            <a:r>
              <a:rPr lang="da-DK" err="1"/>
              <a:t>Area</a:t>
            </a:r>
            <a:r>
              <a:rPr lang="da-DK"/>
              <a:t> of </a:t>
            </a:r>
            <a:r>
              <a:rPr lang="da-DK" err="1"/>
              <a:t>expertise</a:t>
            </a:r>
            <a:br>
              <a:rPr lang="da-DK"/>
            </a:br>
            <a:r>
              <a:rPr lang="da-DK" err="1"/>
              <a:t>Email@dress</a:t>
            </a:r>
            <a:br>
              <a:rPr lang="da-DK"/>
            </a:br>
            <a:r>
              <a:rPr lang="da-DK"/>
              <a:t>Phone </a:t>
            </a:r>
            <a:r>
              <a:rPr lang="da-DK" err="1"/>
              <a:t>number</a:t>
            </a:r>
            <a:endParaRPr lang="da-DK"/>
          </a:p>
          <a:p>
            <a:pPr lvl="0"/>
            <a:endParaRPr lang="da-DK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3E95A0A-5895-4DE1-9E81-3CB2EC1F7D2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36630" y="4086623"/>
            <a:ext cx="2020830" cy="15951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a-DK" err="1"/>
              <a:t>Name</a:t>
            </a:r>
            <a:r>
              <a:rPr lang="da-DK"/>
              <a:t> </a:t>
            </a:r>
            <a:r>
              <a:rPr lang="da-DK" err="1"/>
              <a:t>name</a:t>
            </a:r>
            <a:r>
              <a:rPr lang="da-DK"/>
              <a:t>, Title </a:t>
            </a:r>
            <a:br>
              <a:rPr lang="da-DK"/>
            </a:br>
            <a:r>
              <a:rPr lang="da-DK" err="1"/>
              <a:t>Area</a:t>
            </a:r>
            <a:r>
              <a:rPr lang="da-DK"/>
              <a:t> of </a:t>
            </a:r>
            <a:r>
              <a:rPr lang="da-DK" err="1"/>
              <a:t>expertise</a:t>
            </a:r>
            <a:br>
              <a:rPr lang="da-DK"/>
            </a:br>
            <a:r>
              <a:rPr lang="da-DK" err="1"/>
              <a:t>Email@dress</a:t>
            </a:r>
            <a:br>
              <a:rPr lang="da-DK"/>
            </a:br>
            <a:r>
              <a:rPr lang="da-DK"/>
              <a:t>Phone </a:t>
            </a:r>
            <a:r>
              <a:rPr lang="da-DK" err="1"/>
              <a:t>number</a:t>
            </a:r>
            <a:endParaRPr lang="da-DK"/>
          </a:p>
          <a:p>
            <a:pPr lvl="0"/>
            <a:endParaRPr lang="da-DK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31E9205-4001-4C76-9474-A0F6D15DAD6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475553" y="4066066"/>
            <a:ext cx="2020830" cy="15951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a-DK" err="1"/>
              <a:t>Name</a:t>
            </a:r>
            <a:r>
              <a:rPr lang="da-DK"/>
              <a:t> </a:t>
            </a:r>
            <a:r>
              <a:rPr lang="da-DK" err="1"/>
              <a:t>name</a:t>
            </a:r>
            <a:r>
              <a:rPr lang="da-DK"/>
              <a:t>, Title </a:t>
            </a:r>
            <a:br>
              <a:rPr lang="da-DK"/>
            </a:br>
            <a:r>
              <a:rPr lang="da-DK" err="1"/>
              <a:t>Area</a:t>
            </a:r>
            <a:r>
              <a:rPr lang="da-DK"/>
              <a:t> of </a:t>
            </a:r>
            <a:r>
              <a:rPr lang="da-DK" err="1"/>
              <a:t>expertise</a:t>
            </a:r>
            <a:br>
              <a:rPr lang="da-DK"/>
            </a:br>
            <a:r>
              <a:rPr lang="da-DK" err="1"/>
              <a:t>Email@dress</a:t>
            </a:r>
            <a:br>
              <a:rPr lang="da-DK"/>
            </a:br>
            <a:r>
              <a:rPr lang="da-DK"/>
              <a:t>Phone </a:t>
            </a:r>
            <a:r>
              <a:rPr lang="da-DK" err="1"/>
              <a:t>number</a:t>
            </a:r>
            <a:endParaRPr lang="da-DK"/>
          </a:p>
          <a:p>
            <a:pPr lvl="0"/>
            <a:endParaRPr lang="da-DK"/>
          </a:p>
        </p:txBody>
      </p:sp>
      <p:sp>
        <p:nvSpPr>
          <p:cNvPr id="26" name="Shape 2587">
            <a:extLst>
              <a:ext uri="{FF2B5EF4-FFF2-40B4-BE49-F238E27FC236}">
                <a16:creationId xmlns:a16="http://schemas.microsoft.com/office/drawing/2014/main" id="{01107A37-C368-49C5-9DC7-A94D9D426028}"/>
              </a:ext>
            </a:extLst>
          </p:cNvPr>
          <p:cNvSpPr/>
          <p:nvPr/>
        </p:nvSpPr>
        <p:spPr>
          <a:xfrm>
            <a:off x="9749466" y="345564"/>
            <a:ext cx="1432437" cy="143243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34925">
            <a:solidFill>
              <a:schemeClr val="accent6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da-DK" sz="2999"/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BC160E0F-93DC-49D5-B6A1-6715CEABFB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468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headline</a:t>
            </a:r>
            <a:endParaRPr lang="da-DK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F3027CDC-831D-4211-A77C-0F4FCEEEEC5F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1286933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AA44E9D-E048-4682-A65B-A566A9C6DCD2}"/>
              </a:ext>
            </a:extLst>
          </p:cNvPr>
          <p:cNvCxnSpPr>
            <a:cxnSpLocks/>
          </p:cNvCxnSpPr>
          <p:nvPr/>
        </p:nvCxnSpPr>
        <p:spPr>
          <a:xfrm>
            <a:off x="11832600" y="6264000"/>
            <a:ext cx="3594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535215D8-250F-45F2-B88F-1A30927144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529891" y="2009571"/>
            <a:ext cx="1875337" cy="187533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your</a:t>
            </a:r>
            <a:r>
              <a:rPr lang="da-DK"/>
              <a:t> </a:t>
            </a:r>
            <a:r>
              <a:rPr lang="da-DK" err="1"/>
              <a:t>profile</a:t>
            </a:r>
            <a:r>
              <a:rPr lang="da-DK"/>
              <a:t> </a:t>
            </a:r>
            <a:r>
              <a:rPr lang="da-DK" err="1"/>
              <a:t>photo</a:t>
            </a:r>
            <a:endParaRPr lang="da-DK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8A3540A-2EDE-47A6-9ADF-BB4829307CD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97602" y="4066066"/>
            <a:ext cx="2020830" cy="15951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a-DK" err="1"/>
              <a:t>Name</a:t>
            </a:r>
            <a:r>
              <a:rPr lang="da-DK"/>
              <a:t> </a:t>
            </a:r>
            <a:r>
              <a:rPr lang="da-DK" err="1"/>
              <a:t>name</a:t>
            </a:r>
            <a:r>
              <a:rPr lang="da-DK"/>
              <a:t>, Title </a:t>
            </a:r>
            <a:br>
              <a:rPr lang="da-DK"/>
            </a:br>
            <a:r>
              <a:rPr lang="da-DK" err="1"/>
              <a:t>Area</a:t>
            </a:r>
            <a:r>
              <a:rPr lang="da-DK"/>
              <a:t> of </a:t>
            </a:r>
            <a:r>
              <a:rPr lang="da-DK" err="1"/>
              <a:t>expertise</a:t>
            </a:r>
            <a:br>
              <a:rPr lang="da-DK"/>
            </a:br>
            <a:r>
              <a:rPr lang="da-DK" err="1"/>
              <a:t>Email@dress</a:t>
            </a:r>
            <a:br>
              <a:rPr lang="da-DK"/>
            </a:br>
            <a:r>
              <a:rPr lang="da-DK"/>
              <a:t>Phone </a:t>
            </a:r>
            <a:r>
              <a:rPr lang="da-DK" err="1"/>
              <a:t>number</a:t>
            </a:r>
            <a:endParaRPr lang="da-DK"/>
          </a:p>
          <a:p>
            <a:pPr lvl="0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147635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Full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picture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Dokument id her</a:t>
            </a:r>
          </a:p>
        </p:txBody>
      </p:sp>
      <p:sp>
        <p:nvSpPr>
          <p:cNvPr id="20" name="Logo on top">
            <a:extLst>
              <a:ext uri="{FF2B5EF4-FFF2-40B4-BE49-F238E27FC236}">
                <a16:creationId xmlns:a16="http://schemas.microsoft.com/office/drawing/2014/main" id="{E62EE4E3-C4C4-4FC3-A816-7A23933DD733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D6E7766-B064-47AD-88DF-F66F05D38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6090EBB7-CC4A-638A-529B-3DCC252CEAB7}"/>
              </a:ext>
            </a:extLst>
          </p:cNvPr>
          <p:cNvSpPr txBox="1">
            <a:spLocks/>
          </p:cNvSpPr>
          <p:nvPr/>
        </p:nvSpPr>
        <p:spPr>
          <a:xfrm>
            <a:off x="128290" y="63000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3577308"/>
      </p:ext>
    </p:extLst>
  </p:cSld>
  <p:clrMapOvr>
    <a:masterClrMapping/>
  </p:clrMapOvr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CA07EBC5-4080-1670-4BA3-EC5161A274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401" y="343694"/>
            <a:ext cx="1344688" cy="6381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40283" y="2886513"/>
            <a:ext cx="5476695" cy="1248291"/>
          </a:xfrm>
        </p:spPr>
        <p:txBody>
          <a:bodyPr anchor="ctr"/>
          <a:lstStyle>
            <a:lvl1pPr algn="l">
              <a:lnSpc>
                <a:spcPct val="75000"/>
              </a:lnSpc>
              <a:defRPr sz="5250" cap="all" spc="0" baseline="0">
                <a:solidFill>
                  <a:schemeClr val="tx1"/>
                </a:solidFill>
              </a:defRPr>
            </a:lvl1pPr>
          </a:lstStyle>
          <a:p>
            <a:r>
              <a:rPr lang="da-DK"/>
              <a:t>Click to edit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05E279B-52AE-D647-B85A-157AF4C09E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4489" y="5827712"/>
            <a:ext cx="5472490" cy="324000"/>
          </a:xfrm>
        </p:spPr>
        <p:txBody>
          <a:bodyPr anchor="b"/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a-DK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5350722-5A38-70CC-6633-DA75790A58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2345" y="6191100"/>
            <a:ext cx="5484634" cy="324000"/>
          </a:xfrm>
          <a:noFill/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F41D3CF-A8B4-C9A7-5124-83BBE4C3E78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33455B9-E010-53C8-0D32-5BE419E93A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401" y="343694"/>
            <a:ext cx="1344688" cy="638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6294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9">
          <p15:clr>
            <a:srgbClr val="646464"/>
          </p15:clr>
        </p15:guide>
        <p15:guide id="10" pos="7680">
          <p15:clr>
            <a:srgbClr val="646464"/>
          </p15:clr>
        </p15:guide>
        <p15:guide id="11" pos="217">
          <p15:clr>
            <a:srgbClr val="646464"/>
          </p15:clr>
        </p15:guide>
        <p15:guide id="12" pos="7462">
          <p15:clr>
            <a:srgbClr val="646464"/>
          </p15:clr>
        </p15:guide>
        <p15:guide id="13" orient="horz">
          <p15:clr>
            <a:srgbClr val="646464"/>
          </p15:clr>
        </p15:guide>
        <p15:guide id="14" orient="horz" pos="4320">
          <p15:clr>
            <a:srgbClr val="646464"/>
          </p15:clr>
        </p15:guide>
        <p15:guide id="15" orient="horz" pos="217">
          <p15:clr>
            <a:srgbClr val="646464"/>
          </p15:clr>
        </p15:guide>
        <p15:guide id="16" orient="horz" pos="4102">
          <p15:clr>
            <a:srgbClr val="64646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07246ADE-AF0D-4665-B94E-C64EAAA42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5435B5D-331F-4378-A98D-701BF37150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468001"/>
            <a:ext cx="11473200" cy="533374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headline</a:t>
            </a:r>
            <a:endParaRPr lang="da-DK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solidFill>
                  <a:schemeClr val="accent4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subtitle</a:t>
            </a:r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4E0D6FF-F00D-45C7-A8B9-6122B7A73E6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9199" y="1511300"/>
            <a:ext cx="5459951" cy="4648200"/>
          </a:xfrm>
        </p:spPr>
        <p:txBody>
          <a:bodyPr lIns="72000" tIns="36000" rIns="72000" bIns="36000">
            <a:no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err="1"/>
              <a:t>Click</a:t>
            </a:r>
            <a:r>
              <a:rPr lang="da-DK" noProof="0"/>
              <a:t> to </a:t>
            </a:r>
            <a:r>
              <a:rPr lang="da-DK" noProof="0" err="1"/>
              <a:t>add</a:t>
            </a:r>
            <a:r>
              <a:rPr lang="da-DK" noProof="0"/>
              <a:t> </a:t>
            </a:r>
            <a:r>
              <a:rPr lang="da-DK" noProof="0" err="1"/>
              <a:t>text</a:t>
            </a:r>
            <a:r>
              <a:rPr lang="da-DK" noProof="0"/>
              <a:t>                                                                                                                            Enter &amp; TAB for </a:t>
            </a:r>
            <a:r>
              <a:rPr lang="da-DK" noProof="0" err="1"/>
              <a:t>next</a:t>
            </a:r>
            <a:r>
              <a:rPr lang="da-DK" noProof="0"/>
              <a:t> </a:t>
            </a:r>
            <a:r>
              <a:rPr lang="da-DK" noProof="0" err="1"/>
              <a:t>text</a:t>
            </a:r>
            <a:r>
              <a:rPr lang="da-DK" noProof="0"/>
              <a:t> </a:t>
            </a:r>
            <a:r>
              <a:rPr lang="da-DK" noProof="0" err="1"/>
              <a:t>level</a:t>
            </a:r>
            <a:r>
              <a:rPr lang="da-DK" noProof="0"/>
              <a:t>                                                                                                              SHIFT+TAB to go back in </a:t>
            </a:r>
            <a:r>
              <a:rPr lang="da-DK" noProof="0" err="1"/>
              <a:t>levels</a:t>
            </a:r>
            <a:endParaRPr lang="da-DK" noProof="0"/>
          </a:p>
          <a:p>
            <a:pPr lvl="1"/>
            <a:r>
              <a:rPr lang="da-DK" noProof="0"/>
              <a:t>Second </a:t>
            </a:r>
            <a:r>
              <a:rPr lang="da-DK" noProof="0" err="1"/>
              <a:t>level</a:t>
            </a:r>
            <a:endParaRPr lang="da-DK" noProof="0"/>
          </a:p>
          <a:p>
            <a:pPr lvl="2"/>
            <a:r>
              <a:rPr lang="da-DK" noProof="0"/>
              <a:t>Third </a:t>
            </a:r>
            <a:r>
              <a:rPr lang="da-DK" noProof="0" err="1"/>
              <a:t>level</a:t>
            </a:r>
            <a:endParaRPr lang="da-DK" noProof="0"/>
          </a:p>
          <a:p>
            <a:pPr lvl="3"/>
            <a:r>
              <a:rPr lang="da-DK" noProof="0" err="1"/>
              <a:t>Fourth</a:t>
            </a:r>
            <a:r>
              <a:rPr lang="da-DK" noProof="0"/>
              <a:t> </a:t>
            </a:r>
            <a:r>
              <a:rPr lang="da-DK" noProof="0" err="1"/>
              <a:t>level</a:t>
            </a:r>
            <a:endParaRPr lang="da-DK" noProof="0"/>
          </a:p>
          <a:p>
            <a:pPr lvl="4"/>
            <a:r>
              <a:rPr lang="da-DK" noProof="0"/>
              <a:t>Fifth </a:t>
            </a:r>
            <a:r>
              <a:rPr lang="da-DK" noProof="0" err="1"/>
              <a:t>level</a:t>
            </a:r>
            <a:endParaRPr lang="da-DK" noProof="0"/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EFFA882D-3B1A-4B0F-8C4B-4A307EF3A69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70638" y="1511300"/>
            <a:ext cx="5461000" cy="4648200"/>
          </a:xfrm>
        </p:spPr>
        <p:txBody>
          <a:bodyPr lIns="72000" tIns="36000" rIns="72000" bIns="36000">
            <a:no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err="1"/>
              <a:t>Click</a:t>
            </a:r>
            <a:r>
              <a:rPr lang="da-DK" noProof="0"/>
              <a:t> to </a:t>
            </a:r>
            <a:r>
              <a:rPr lang="da-DK" noProof="0" err="1"/>
              <a:t>add</a:t>
            </a:r>
            <a:r>
              <a:rPr lang="da-DK" noProof="0"/>
              <a:t> </a:t>
            </a:r>
            <a:r>
              <a:rPr lang="da-DK" noProof="0" err="1"/>
              <a:t>text</a:t>
            </a:r>
            <a:r>
              <a:rPr lang="da-DK" noProof="0"/>
              <a:t>                                                                                                                            Enter &amp; TAB for </a:t>
            </a:r>
            <a:r>
              <a:rPr lang="da-DK" noProof="0" err="1"/>
              <a:t>next</a:t>
            </a:r>
            <a:r>
              <a:rPr lang="da-DK" noProof="0"/>
              <a:t> </a:t>
            </a:r>
            <a:r>
              <a:rPr lang="da-DK" noProof="0" err="1"/>
              <a:t>text</a:t>
            </a:r>
            <a:r>
              <a:rPr lang="da-DK" noProof="0"/>
              <a:t> </a:t>
            </a:r>
            <a:r>
              <a:rPr lang="da-DK" noProof="0" err="1"/>
              <a:t>level</a:t>
            </a:r>
            <a:r>
              <a:rPr lang="da-DK" noProof="0"/>
              <a:t>                                                                                                              SHIFT+TAB to go back in </a:t>
            </a:r>
            <a:r>
              <a:rPr lang="da-DK" noProof="0" err="1"/>
              <a:t>levels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EF6179B-77C4-4542-9C74-37D473D6D72B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1286933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4AEE780-4CC6-4AAC-949D-7D7B8E6AFA69}"/>
              </a:ext>
            </a:extLst>
          </p:cNvPr>
          <p:cNvCxnSpPr>
            <a:cxnSpLocks/>
          </p:cNvCxnSpPr>
          <p:nvPr/>
        </p:nvCxnSpPr>
        <p:spPr>
          <a:xfrm>
            <a:off x="11832600" y="6264000"/>
            <a:ext cx="359400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11005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4" orient="horz" pos="952" userDrawn="1">
          <p15:clr>
            <a:srgbClr val="A4A3A4"/>
          </p15:clr>
        </p15:guide>
        <p15:guide id="5" pos="4013" userDrawn="1">
          <p15:clr>
            <a:srgbClr val="A4A3A4"/>
          </p15:clr>
        </p15:guide>
        <p15:guide id="6" pos="3716" userDrawn="1">
          <p15:clr>
            <a:srgbClr val="A4A3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9AAA0281-F474-80E6-3C0C-23138CEDCFC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7084896" y="32688"/>
            <a:ext cx="4818577" cy="1213666"/>
          </a:xfrm>
        </p:spPr>
        <p:txBody>
          <a:bodyPr wrap="square">
            <a:spAutoFit/>
          </a:bodyPr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None/>
              <a:defRPr sz="5250" b="1" cap="all" spc="-75" baseline="0">
                <a:solidFill>
                  <a:schemeClr val="tx1"/>
                </a:solidFill>
              </a:defRPr>
            </a:lvl1pPr>
            <a:lvl2pPr marL="0" indent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250" b="1" cap="all" spc="-75" baseline="0">
                <a:solidFill>
                  <a:schemeClr val="accent1"/>
                </a:solidFill>
              </a:defRPr>
            </a:lvl2pPr>
            <a:lvl3pPr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bg1"/>
                </a:solidFill>
              </a:defRPr>
            </a:lvl3pPr>
            <a:lvl4pPr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bg1"/>
                </a:solidFill>
              </a:defRPr>
            </a:lvl4pPr>
            <a:lvl5pPr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Level 1 text</a:t>
            </a:r>
          </a:p>
          <a:p>
            <a:pPr lvl="1"/>
            <a:r>
              <a:rPr lang="da-DK"/>
              <a:t>Level 2 text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A153A70-D027-2663-C177-298A71E6B573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0" y="0"/>
            <a:ext cx="6096000" cy="6848416"/>
          </a:xfrm>
        </p:spPr>
        <p:txBody>
          <a:bodyPr bIns="2808000" anchor="b"/>
          <a:lstStyle>
            <a:lvl1pPr algn="ctr">
              <a:defRPr/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10" name="Text Placeholder 24">
            <a:extLst>
              <a:ext uri="{FF2B5EF4-FFF2-40B4-BE49-F238E27FC236}">
                <a16:creationId xmlns:a16="http://schemas.microsoft.com/office/drawing/2014/main" id="{5D326B1D-29CB-7092-8DA7-97156A5A3C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4401" y="343693"/>
            <a:ext cx="1359250" cy="638115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a-DK"/>
              <a:t>  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E0394D99-CBE8-1F34-3C20-31ABE2227F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4489" y="5827712"/>
            <a:ext cx="5472490" cy="324000"/>
          </a:xfrm>
        </p:spPr>
        <p:txBody>
          <a:bodyPr anchor="b"/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a-DK"/>
              <a:t>CLICK TO EDIT MASTER TEXT STYLES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CB3874C6-B4DF-BE1A-7681-7CD6889A45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2345" y="6192000"/>
            <a:ext cx="5484634" cy="324000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821780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9">
          <p15:clr>
            <a:srgbClr val="646464"/>
          </p15:clr>
        </p15:guide>
        <p15:guide id="10" pos="7680">
          <p15:clr>
            <a:srgbClr val="646464"/>
          </p15:clr>
        </p15:guide>
        <p15:guide id="11" pos="217">
          <p15:clr>
            <a:srgbClr val="646464"/>
          </p15:clr>
        </p15:guide>
        <p15:guide id="12" pos="7462">
          <p15:clr>
            <a:srgbClr val="646464"/>
          </p15:clr>
        </p15:guide>
        <p15:guide id="13" orient="horz">
          <p15:clr>
            <a:srgbClr val="646464"/>
          </p15:clr>
        </p15:guide>
        <p15:guide id="14" orient="horz" pos="4320">
          <p15:clr>
            <a:srgbClr val="646464"/>
          </p15:clr>
        </p15:guide>
        <p15:guide id="15" orient="horz" pos="217">
          <p15:clr>
            <a:srgbClr val="646464"/>
          </p15:clr>
        </p15:guide>
        <p15:guide id="16" orient="horz" pos="4102">
          <p15:clr>
            <a:srgbClr val="646464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9C1D90-A999-D188-A423-B12F82BA1AC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8033" y="5304871"/>
            <a:ext cx="5278067" cy="1360448"/>
          </a:xfrm>
        </p:spPr>
        <p:txBody>
          <a:bodyPr anchor="b"/>
          <a:lstStyle>
            <a:lvl1pPr algn="l">
              <a:lnSpc>
                <a:spcPct val="75000"/>
              </a:lnSpc>
              <a:defRPr sz="5250" cap="all" spc="-100" baseline="0">
                <a:solidFill>
                  <a:schemeClr val="tx1"/>
                </a:solidFill>
              </a:defRPr>
            </a:lvl1pPr>
          </a:lstStyle>
          <a:p>
            <a:r>
              <a:rPr lang="da-DK"/>
              <a:t>Click to edit title style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AC9BF52A-CAAF-62EA-793E-4EA85C1185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8686" y="5989770"/>
            <a:ext cx="5915281" cy="324000"/>
          </a:xfrm>
        </p:spPr>
        <p:txBody>
          <a:bodyPr anchor="b"/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a-DK"/>
              <a:t>CLICK TO EDIT MASTER TEXT STYLES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4397874-CDEC-7422-4467-1354261233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24550" y="6353370"/>
            <a:ext cx="5915280" cy="324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862A65D-63FF-685F-9C11-BC5B4ACB9A6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0" y="0"/>
            <a:ext cx="12192000" cy="5145437"/>
          </a:xfrm>
        </p:spPr>
        <p:txBody>
          <a:bodyPr tIns="208800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6" name="Text Placeholder 24">
            <a:extLst>
              <a:ext uri="{FF2B5EF4-FFF2-40B4-BE49-F238E27FC236}">
                <a16:creationId xmlns:a16="http://schemas.microsoft.com/office/drawing/2014/main" id="{7369B37E-4659-11AD-13B0-0E2057CFC8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4401" y="343693"/>
            <a:ext cx="1359250" cy="638115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a-DK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4571146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9">
          <p15:clr>
            <a:srgbClr val="646464"/>
          </p15:clr>
        </p15:guide>
        <p15:guide id="10" pos="7680">
          <p15:clr>
            <a:srgbClr val="646464"/>
          </p15:clr>
        </p15:guide>
        <p15:guide id="11" pos="217">
          <p15:clr>
            <a:srgbClr val="646464"/>
          </p15:clr>
        </p15:guide>
        <p15:guide id="12" pos="7462">
          <p15:clr>
            <a:srgbClr val="646464"/>
          </p15:clr>
        </p15:guide>
        <p15:guide id="13" orient="horz">
          <p15:clr>
            <a:srgbClr val="646464"/>
          </p15:clr>
        </p15:guide>
        <p15:guide id="14" orient="horz" pos="4320">
          <p15:clr>
            <a:srgbClr val="646464"/>
          </p15:clr>
        </p15:guide>
        <p15:guide id="15" orient="horz" pos="217">
          <p15:clr>
            <a:srgbClr val="646464"/>
          </p15:clr>
        </p15:guide>
        <p15:guide id="16" orient="horz" pos="4102">
          <p15:clr>
            <a:srgbClr val="64646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956544-3139-DD05-E217-DF86B51D93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FD66723-746C-D68A-DC72-FE661B12196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42900" y="2400300"/>
            <a:ext cx="11506200" cy="3768725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8EAB78-8D9C-0E2E-827A-42CC0FBB23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3E29C8-0B12-5C41-BF4B-DCC4A875C6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3299776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E37489D-067D-8C7D-7C99-8AC105A17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FD66723-746C-D68A-DC72-FE661B12196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42900" y="2400300"/>
            <a:ext cx="5581650" cy="3768725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" name="Content Placeholder 9">
            <a:extLst>
              <a:ext uri="{FF2B5EF4-FFF2-40B4-BE49-F238E27FC236}">
                <a16:creationId xmlns:a16="http://schemas.microsoft.com/office/drawing/2014/main" id="{3C7740FC-52BA-B14F-A10F-3514CCF5128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73800" y="2400300"/>
            <a:ext cx="5581650" cy="3768725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3E29C8-0B12-5C41-BF4B-DCC4A875C6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WSP | Footer goes here | Dat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8EAB78-8D9C-0E2E-827A-42CC0FBB23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pPr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89812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984F25-0FBF-5253-9EF5-985C017AE5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68276A0-4AE3-3D53-58E7-A8E5CB46FDE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2900" y="2400300"/>
            <a:ext cx="3605213" cy="3768725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77B7F741-53CE-FBAF-E825-D6A8278A519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292600" y="2400300"/>
            <a:ext cx="3605212" cy="3768725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Content Placeholder 9">
            <a:extLst>
              <a:ext uri="{FF2B5EF4-FFF2-40B4-BE49-F238E27FC236}">
                <a16:creationId xmlns:a16="http://schemas.microsoft.com/office/drawing/2014/main" id="{05DEABA2-AF10-F11F-FE17-BBEDB4599C3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242300" y="2400300"/>
            <a:ext cx="3605213" cy="3768725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Footer Placehold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WSP | Footer goes here | Date</a:t>
            </a:r>
          </a:p>
        </p:txBody>
      </p:sp>
      <p:sp>
        <p:nvSpPr>
          <p:cNvPr id="6" name="Slide Number Placeholder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5327" y="6420078"/>
            <a:ext cx="643773" cy="107722"/>
          </a:xfrm>
        </p:spPr>
        <p:txBody>
          <a:bodyPr/>
          <a:lstStyle/>
          <a:p>
            <a:fld id="{91D568E7-61F5-D04E-995D-81EF41C01A2A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74210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19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FEC153-62BA-F754-A1BC-EFCE43220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E0ADA7C-694A-1BDC-6220-3B2E96ED649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2900" y="2400300"/>
            <a:ext cx="2617787" cy="3768724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2BA123FA-2A3A-2966-75C1-FAFE59CA58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302000" y="2400299"/>
            <a:ext cx="2622550" cy="3768725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A7563498-E7E0-B663-9071-27FF537D39E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73800" y="2400299"/>
            <a:ext cx="2622550" cy="3768725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E345F21B-27EA-D962-745A-3B27ACA6CB4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230253" y="2400299"/>
            <a:ext cx="2618847" cy="3768725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Slide Number Placeholder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t>‹#›</a:t>
            </a:fld>
            <a:endParaRPr lang="da-DK"/>
          </a:p>
        </p:txBody>
      </p:sp>
      <p:sp>
        <p:nvSpPr>
          <p:cNvPr id="5" name="Footer Placehold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4107360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5671648-2F46-25C5-D69B-9FE9BDF56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Slide Number Placeholder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t>‹#›</a:t>
            </a:fld>
            <a:endParaRPr lang="da-DK"/>
          </a:p>
        </p:txBody>
      </p:sp>
      <p:sp>
        <p:nvSpPr>
          <p:cNvPr id="3" name="Footer Placeholder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3993889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oter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A71CD70-9217-C4C8-9DE5-2549369B83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WSP | Footer goes here | Dat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B3B901F-43E4-B89B-DCDE-1C8B2100BC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pPr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272288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3A66A86-6960-D449-0CEA-AAAE911728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1373188"/>
            <a:ext cx="4937125" cy="972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E2351FD-FE2D-1BBF-33F0-19340A16F18F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42900" y="2400300"/>
            <a:ext cx="4937716" cy="3766683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3" name="Background Picture Placeholder 3">
            <a:extLst>
              <a:ext uri="{FF2B5EF4-FFF2-40B4-BE49-F238E27FC236}">
                <a16:creationId xmlns:a16="http://schemas.microsoft.com/office/drawing/2014/main" id="{FB243136-97D2-C81C-9967-41C7C98C5D5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noFill/>
        </p:spPr>
        <p:txBody>
          <a:bodyPr bIns="2808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3F6506C-1FA3-581E-2A5F-206FDE5806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5" name="Footer Placehold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5413268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B80ACBA-0354-0A33-8082-507F09EA02C1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0" y="0"/>
            <a:ext cx="6096000" cy="6858000"/>
          </a:xfrm>
        </p:spPr>
        <p:txBody>
          <a:bodyPr bIns="2808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3" name="Text Placeholder 24">
            <a:extLst>
              <a:ext uri="{FF2B5EF4-FFF2-40B4-BE49-F238E27FC236}">
                <a16:creationId xmlns:a16="http://schemas.microsoft.com/office/drawing/2014/main" id="{378B3444-7F72-C718-8260-6F9A807D6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4401" y="343694"/>
            <a:ext cx="1005966" cy="472262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a-DK"/>
              <a:t> 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851B6D-B0CF-571D-E97D-015B7EB230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0388" y="1373188"/>
            <a:ext cx="4938711" cy="972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131AEE03-67B8-B072-59BD-B0D4751E0E8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10388" y="2400299"/>
            <a:ext cx="4936597" cy="3768725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7C92578-FCDC-644E-698C-0F6354A37F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3552ACA-48D1-2743-58A3-A77133354E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22377100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ext or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5B374C-F223-47F3-BBF5-AB0E43943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468001"/>
            <a:ext cx="11473200" cy="533374"/>
          </a:xfrm>
          <a:prstGeom prst="rect">
            <a:avLst/>
          </a:prstGeom>
        </p:spPr>
        <p:txBody>
          <a:bodyPr lIns="72000" tIns="36000" rIns="72000" bIns="36000"/>
          <a:lstStyle/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headline</a:t>
            </a:r>
            <a:endParaRPr lang="da-DK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EC09FC0-046C-4680-8863-00E867AAE76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solidFill>
                  <a:schemeClr val="accent4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subtitle</a:t>
            </a:r>
            <a:endParaRPr lang="da-DK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14FBFAE-6F7B-4E9C-BCC3-47A94886710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0000" y="1512000"/>
            <a:ext cx="11473200" cy="4647600"/>
          </a:xfrm>
          <a:ln w="19050">
            <a:noFill/>
          </a:ln>
        </p:spPr>
        <p:txBody>
          <a:bodyPr lIns="72000" tIns="36000" rIns="72000" bIns="36000">
            <a:noAutofit/>
          </a:bodyPr>
          <a:lstStyle>
            <a:lvl1pPr>
              <a:defRPr baseline="0"/>
            </a:lvl1pPr>
          </a:lstStyle>
          <a:p>
            <a:pPr lvl="0"/>
            <a:r>
              <a:rPr lang="da-DK" noProof="0" err="1"/>
              <a:t>Click</a:t>
            </a:r>
            <a:r>
              <a:rPr lang="da-DK" noProof="0"/>
              <a:t> to </a:t>
            </a:r>
            <a:r>
              <a:rPr lang="da-DK" noProof="0" err="1"/>
              <a:t>edit</a:t>
            </a:r>
            <a:r>
              <a:rPr lang="da-DK" noProof="0"/>
              <a:t> </a:t>
            </a:r>
            <a:r>
              <a:rPr lang="da-DK" noProof="0" err="1"/>
              <a:t>text</a:t>
            </a:r>
            <a:r>
              <a:rPr lang="da-DK" noProof="0"/>
              <a:t> or </a:t>
            </a:r>
            <a:r>
              <a:rPr lang="da-DK" noProof="0" err="1"/>
              <a:t>add</a:t>
            </a:r>
            <a:r>
              <a:rPr lang="da-DK" noProof="0"/>
              <a:t> media</a:t>
            </a:r>
          </a:p>
          <a:p>
            <a:pPr lvl="1"/>
            <a:r>
              <a:rPr lang="da-DK" noProof="0"/>
              <a:t>Second </a:t>
            </a:r>
            <a:r>
              <a:rPr lang="da-DK" noProof="0" err="1"/>
              <a:t>level</a:t>
            </a:r>
            <a:endParaRPr lang="da-DK" noProof="0"/>
          </a:p>
          <a:p>
            <a:pPr lvl="2"/>
            <a:r>
              <a:rPr lang="da-DK" noProof="0"/>
              <a:t>Third </a:t>
            </a:r>
            <a:r>
              <a:rPr lang="da-DK" noProof="0" err="1"/>
              <a:t>level</a:t>
            </a:r>
            <a:endParaRPr lang="da-DK" noProof="0"/>
          </a:p>
          <a:p>
            <a:pPr lvl="3"/>
            <a:r>
              <a:rPr lang="da-DK" noProof="0" err="1"/>
              <a:t>Fourth</a:t>
            </a:r>
            <a:r>
              <a:rPr lang="da-DK" noProof="0"/>
              <a:t> </a:t>
            </a:r>
            <a:r>
              <a:rPr lang="da-DK" noProof="0" err="1"/>
              <a:t>level</a:t>
            </a:r>
            <a:endParaRPr lang="da-DK" noProof="0"/>
          </a:p>
          <a:p>
            <a:pPr lvl="4"/>
            <a:r>
              <a:rPr lang="da-DK" noProof="0"/>
              <a:t>Fifth </a:t>
            </a:r>
            <a:r>
              <a:rPr lang="da-DK" noProof="0" err="1"/>
              <a:t>level</a:t>
            </a:r>
            <a:endParaRPr lang="da-DK" noProof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C387FF6-39B2-4DBD-BCE1-59066521BC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7B51CE33-A654-4FEC-9FDE-2F5A1C8CD5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B6A2B6-A4A4-4A4A-8CD5-698879BC50F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600">
                <a:noFill/>
              </a:defRPr>
            </a:lvl1pPr>
          </a:lstStyle>
          <a:p>
            <a:endParaRPr lang="da-DK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2A51D0E-0CD0-41B0-9F7E-98C37A09439B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1286933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5055253-2EDF-406A-A9C9-A9BA9ED904DA}"/>
              </a:ext>
            </a:extLst>
          </p:cNvPr>
          <p:cNvCxnSpPr>
            <a:cxnSpLocks/>
          </p:cNvCxnSpPr>
          <p:nvPr/>
        </p:nvCxnSpPr>
        <p:spPr>
          <a:xfrm>
            <a:off x="11832600" y="6264000"/>
            <a:ext cx="359400" cy="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33921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orient="horz" pos="952" userDrawn="1">
          <p15:clr>
            <a:srgbClr val="A4A3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Top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4FABF04-2D7E-AD64-E77B-9209205C45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0" y="1568"/>
            <a:ext cx="12192000" cy="3427432"/>
          </a:xfrm>
        </p:spPr>
        <p:txBody>
          <a:bodyPr bIns="1080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Click to add picture</a:t>
            </a:r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70A76C6E-EDE2-7ADB-464E-7A4DE53D1E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4401" y="343694"/>
            <a:ext cx="1005966" cy="472262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a-DK"/>
              <a:t> 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2C8041B-1FAD-D976-51C6-5D4C7E931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726" y="3771900"/>
            <a:ext cx="11506199" cy="97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49CF339-B46A-0FB1-4D72-2FCF8F4CFC4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43895" y="4800600"/>
            <a:ext cx="11505205" cy="1368425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447374A-733E-DB31-A2F7-9C1A075CD6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CFA5AF8-33C0-6FE2-1923-0B9E482201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da-DK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22587130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04276A5-6664-5DEF-2698-29B2006E04E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0" y="1030288"/>
            <a:ext cx="12192000" cy="5138737"/>
          </a:xfrm>
        </p:spPr>
        <p:txBody>
          <a:bodyPr bIns="2808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57D11AD-0601-B1AB-EB3B-DBDCBE197E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A333ED0-3984-EB0A-B2E4-74FBFDC484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FAF6F5B-BCEF-E444-1494-05AEBCD21E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12049724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mag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CC014-6AE0-EDD0-46E5-FDE1863D73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1270000"/>
            <a:ext cx="11506199" cy="972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AB4F64D-55F2-3DBF-7C02-51D0FB3CFE0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41208" y="2743199"/>
            <a:ext cx="2626558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E03C895-F592-6079-C327-40AF22DF478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41208" y="4306741"/>
            <a:ext cx="2621067" cy="1851026"/>
          </a:xfrm>
        </p:spPr>
        <p:txBody>
          <a:bodyPr/>
          <a:lstStyle>
            <a:lvl1pPr>
              <a:lnSpc>
                <a:spcPct val="112000"/>
              </a:lnSpc>
              <a:defRPr sz="12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DB10AACC-F196-4206-9CCE-36EE1E03C9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301524" y="2743199"/>
            <a:ext cx="2622947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B5DA6D5B-8FB8-11FA-E25A-0C0CD5DFC0F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303589" y="4306741"/>
            <a:ext cx="2617464" cy="1851026"/>
          </a:xfrm>
        </p:spPr>
        <p:txBody>
          <a:bodyPr/>
          <a:lstStyle>
            <a:lvl1pPr>
              <a:lnSpc>
                <a:spcPct val="112000"/>
              </a:lnSpc>
              <a:defRPr sz="12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2BE32184-39D9-F3A4-94C5-9E54320C681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267530" y="2743199"/>
            <a:ext cx="2624782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EA5F606A-ADB4-B4BE-D52B-826D1402A25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67530" y="4306741"/>
            <a:ext cx="2619295" cy="1851026"/>
          </a:xfrm>
        </p:spPr>
        <p:txBody>
          <a:bodyPr/>
          <a:lstStyle>
            <a:lvl1pPr>
              <a:lnSpc>
                <a:spcPct val="112000"/>
              </a:lnSpc>
              <a:defRPr sz="12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25959FCA-2E16-0878-55BC-75C923A6E667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228798" y="2743199"/>
            <a:ext cx="2624782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017D1660-2D73-7333-C756-986852FBD07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230866" y="4306741"/>
            <a:ext cx="2619295" cy="1851026"/>
          </a:xfrm>
        </p:spPr>
        <p:txBody>
          <a:bodyPr/>
          <a:lstStyle>
            <a:lvl1pPr>
              <a:lnSpc>
                <a:spcPct val="112000"/>
              </a:lnSpc>
              <a:defRPr sz="12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3" name="Footer Placeholder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WSP | Footer goes here | Date</a:t>
            </a:r>
          </a:p>
        </p:txBody>
      </p:sp>
      <p:sp>
        <p:nvSpPr>
          <p:cNvPr id="4" name="Slide Number Placeholder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997694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Imag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9060F7-3698-BF02-027A-B8691F7F5F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1270000"/>
            <a:ext cx="11506199" cy="972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AB4F64D-55F2-3DBF-7C02-51D0FB3CFE0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41208" y="2743199"/>
            <a:ext cx="1635474" cy="1372959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E03C895-F592-6079-C327-40AF22DF478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41208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2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8C903D41-3A63-4C1C-7220-484463B0213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315103" y="2743199"/>
            <a:ext cx="1635474" cy="1372959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6B6AB55B-6C6F-2BCE-35FD-F6AD9943AC9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315103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2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DB10AACC-F196-4206-9CCE-36EE1E03C9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288997" y="2743199"/>
            <a:ext cx="1635474" cy="1372959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B5DA6D5B-8FB8-11FA-E25A-0C0CD5DFC0F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288997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2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2BE32184-39D9-F3A4-94C5-9E54320C681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267530" y="2743199"/>
            <a:ext cx="1635474" cy="1372959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EA5F606A-ADB4-B4BE-D52B-826D1402A25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67530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2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A51B3833-10C6-CAA5-FBA5-5C579BA99F2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241424" y="2743199"/>
            <a:ext cx="1635474" cy="1372959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06306560-C9B2-B79F-457A-7ACA07085CD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241424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2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25959FCA-2E16-0878-55BC-75C923A6E667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0218106" y="2743199"/>
            <a:ext cx="1635474" cy="1372959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017D1660-2D73-7333-C756-986852FBD07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18106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2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4" name="Slide Number Placeholder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5327" y="6407378"/>
            <a:ext cx="643773" cy="107722"/>
          </a:xfrm>
        </p:spPr>
        <p:txBody>
          <a:bodyPr/>
          <a:lstStyle/>
          <a:p>
            <a:fld id="{91D568E7-61F5-D04E-995D-81EF41C01A2A}" type="slidenum">
              <a:rPr lang="da-DK" smtClean="0"/>
              <a:t>‹#›</a:t>
            </a:fld>
            <a:endParaRPr lang="da-DK"/>
          </a:p>
        </p:txBody>
      </p:sp>
      <p:sp>
        <p:nvSpPr>
          <p:cNvPr id="3" name="Footer Placeholder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3321547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(x4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FB6167C-9AEC-42D7-1530-33139BDF1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748AD747-8E28-DD10-D5BF-8518E237EC1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44488" y="2055642"/>
            <a:ext cx="2619981" cy="261998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anchor="b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Click to add </a:t>
            </a:r>
            <a:br>
              <a:rPr lang="da-DK"/>
            </a:br>
            <a:r>
              <a:rPr lang="da-DK"/>
              <a:t>Team Photo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D2A98D6C-3F04-53AF-C4A8-4501035CF0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2294" y="5154258"/>
            <a:ext cx="2617873" cy="345606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da-DK"/>
              <a:t>Name Surnam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75A1E741-5224-B294-4BE1-153EF59D5C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293" y="5486400"/>
            <a:ext cx="2617873" cy="341313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da-DK"/>
              <a:t>Add text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4F83CFA-5F8E-8873-148A-EA3E1F950D5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304569" y="2055642"/>
            <a:ext cx="2619981" cy="261998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anchor="b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Click to add </a:t>
            </a:r>
            <a:br>
              <a:rPr lang="da-DK"/>
            </a:br>
            <a:r>
              <a:rPr lang="da-DK"/>
              <a:t>Team Photo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701FEF4-5426-7BE9-BE5E-346A54B12B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03587" y="5154258"/>
            <a:ext cx="2617873" cy="345606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da-DK"/>
              <a:t>Name Surname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4500CAB3-A743-1AF6-CF31-8584B45276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3587" y="5486400"/>
            <a:ext cx="2617873" cy="341313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da-DK"/>
              <a:t>Add text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F5962421-E217-70A5-B59F-2BFAB5F7F8C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71524" y="2055642"/>
            <a:ext cx="2619981" cy="261998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anchor="b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Click to add </a:t>
            </a:r>
            <a:br>
              <a:rPr lang="da-DK"/>
            </a:br>
            <a:r>
              <a:rPr lang="da-DK"/>
              <a:t>Team Photo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82629CA9-17A9-A638-327E-F18796B3E7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0542" y="5154258"/>
            <a:ext cx="2617873" cy="345606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da-DK"/>
              <a:t>Name Surnam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A8A4AD90-F277-CE0E-89B5-9B0825F62BE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0542" y="5486400"/>
            <a:ext cx="2617873" cy="341313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da-DK"/>
              <a:t>Add text</a:t>
            </a:r>
          </a:p>
        </p:txBody>
      </p:sp>
      <p:sp>
        <p:nvSpPr>
          <p:cNvPr id="20" name="Picture Placeholder 9">
            <a:extLst>
              <a:ext uri="{FF2B5EF4-FFF2-40B4-BE49-F238E27FC236}">
                <a16:creationId xmlns:a16="http://schemas.microsoft.com/office/drawing/2014/main" id="{292D5CBE-D7EF-F122-2EF9-E16257B7C50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27004" y="2055642"/>
            <a:ext cx="2619981" cy="261998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anchor="b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Click to add </a:t>
            </a:r>
            <a:br>
              <a:rPr lang="da-DK"/>
            </a:br>
            <a:r>
              <a:rPr lang="da-DK"/>
              <a:t>Team Photo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0E544C57-B306-D539-2A5F-6743F90FFDD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26022" y="5154258"/>
            <a:ext cx="2617873" cy="345606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da-DK"/>
              <a:t>Name Surnam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FCB9643F-9F47-B539-9A15-65A62036276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26022" y="5486400"/>
            <a:ext cx="2617873" cy="341313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da-DK"/>
              <a:t>Add text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ACD4E0C-F9AE-C153-6EB8-2B84273954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649DA47-95C3-2A0A-8E7B-5B912AFF3D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639216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7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3475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2818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(x1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1D1C8DD-9AE7-C49F-B4D5-387DD59151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38074" y="2743200"/>
            <a:ext cx="3608911" cy="1444358"/>
          </a:xfrm>
        </p:spPr>
        <p:txBody>
          <a:bodyPr anchor="b"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da-DK"/>
              <a:t>Name</a:t>
            </a:r>
            <a:br>
              <a:rPr lang="da-DK"/>
            </a:br>
            <a:r>
              <a:rPr lang="da-DK"/>
              <a:t>Surname</a:t>
            </a:r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1E9CB78D-34B8-45C4-C11C-EAF51C5454C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238074" y="4352926"/>
            <a:ext cx="3611026" cy="1851024"/>
          </a:xfrm>
        </p:spPr>
        <p:txBody>
          <a:bodyPr/>
          <a:lstStyle>
            <a:lvl2pPr marL="226800" indent="-226800">
              <a:defRPr/>
            </a:lvl2pPr>
            <a:lvl3pPr marL="453600" indent="-226800">
              <a:defRPr/>
            </a:lvl3pPr>
            <a:lvl4pPr marL="680400" indent="-226800">
              <a:defRPr/>
            </a:lvl4pPr>
            <a:lvl5pPr marL="907200" indent="-22680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79AD20B-1215-4D52-70E0-79FBD911122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-2112" y="188914"/>
            <a:ext cx="7830861" cy="6669089"/>
          </a:xfrm>
          <a:custGeom>
            <a:avLst/>
            <a:gdLst>
              <a:gd name="connsiteX0" fmla="*/ 3564861 w 7830861"/>
              <a:gd name="connsiteY0" fmla="*/ 0 h 6669089"/>
              <a:gd name="connsiteX1" fmla="*/ 7830861 w 7830861"/>
              <a:gd name="connsiteY1" fmla="*/ 4266000 h 6669089"/>
              <a:gd name="connsiteX2" fmla="*/ 7102295 w 7830861"/>
              <a:gd name="connsiteY2" fmla="*/ 6651162 h 6669089"/>
              <a:gd name="connsiteX3" fmla="*/ 7088889 w 7830861"/>
              <a:gd name="connsiteY3" fmla="*/ 6669089 h 6669089"/>
              <a:gd name="connsiteX4" fmla="*/ 1333500 w 7830861"/>
              <a:gd name="connsiteY4" fmla="*/ 6669089 h 6669089"/>
              <a:gd name="connsiteX5" fmla="*/ 40338 w 7830861"/>
              <a:gd name="connsiteY5" fmla="*/ 6669089 h 6669089"/>
              <a:gd name="connsiteX6" fmla="*/ 0 w 7830861"/>
              <a:gd name="connsiteY6" fmla="*/ 6669089 h 6669089"/>
              <a:gd name="connsiteX7" fmla="*/ 0 w 7830861"/>
              <a:gd name="connsiteY7" fmla="*/ 6608380 h 6669089"/>
              <a:gd name="connsiteX8" fmla="*/ 0 w 7830861"/>
              <a:gd name="connsiteY8" fmla="*/ 5335589 h 6669089"/>
              <a:gd name="connsiteX9" fmla="*/ 0 w 7830861"/>
              <a:gd name="connsiteY9" fmla="*/ 1923620 h 6669089"/>
              <a:gd name="connsiteX10" fmla="*/ 27427 w 7830861"/>
              <a:gd name="connsiteY10" fmla="*/ 1880839 h 6669089"/>
              <a:gd name="connsiteX11" fmla="*/ 3564861 w 7830861"/>
              <a:gd name="connsiteY11" fmla="*/ 0 h 6669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830861" h="6669089">
                <a:moveTo>
                  <a:pt x="3564861" y="0"/>
                </a:moveTo>
                <a:cubicBezTo>
                  <a:pt x="5920908" y="0"/>
                  <a:pt x="7830861" y="1909953"/>
                  <a:pt x="7830861" y="4266000"/>
                </a:cubicBezTo>
                <a:cubicBezTo>
                  <a:pt x="7830861" y="5149518"/>
                  <a:pt x="7562274" y="5970304"/>
                  <a:pt x="7102295" y="6651162"/>
                </a:cubicBezTo>
                <a:lnTo>
                  <a:pt x="7088889" y="6669089"/>
                </a:lnTo>
                <a:lnTo>
                  <a:pt x="1333500" y="6669089"/>
                </a:lnTo>
                <a:lnTo>
                  <a:pt x="40338" y="6669089"/>
                </a:lnTo>
                <a:lnTo>
                  <a:pt x="0" y="6669089"/>
                </a:lnTo>
                <a:lnTo>
                  <a:pt x="0" y="6608380"/>
                </a:lnTo>
                <a:lnTo>
                  <a:pt x="0" y="5335589"/>
                </a:lnTo>
                <a:lnTo>
                  <a:pt x="0" y="1923620"/>
                </a:lnTo>
                <a:lnTo>
                  <a:pt x="27427" y="1880839"/>
                </a:lnTo>
                <a:cubicBezTo>
                  <a:pt x="794058" y="746076"/>
                  <a:pt x="2092332" y="0"/>
                  <a:pt x="3564861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bIns="2700000" anchor="b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ACD4E0C-F9AE-C153-6EB8-2B84273954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649DA47-95C3-2A0A-8E7B-5B912AFF3D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WSP | Footer goes here | Dat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2FA173A-5DD3-09E2-673F-94173F0A9D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401" y="343694"/>
            <a:ext cx="1004465" cy="476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0333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roject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6">
            <a:extLst>
              <a:ext uri="{FF2B5EF4-FFF2-40B4-BE49-F238E27FC236}">
                <a16:creationId xmlns:a16="http://schemas.microsoft.com/office/drawing/2014/main" id="{284AE56D-313B-F96B-6518-F7ADEC63D7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267565" y="494"/>
            <a:ext cx="5924433" cy="3455749"/>
          </a:xfrm>
          <a:custGeom>
            <a:avLst/>
            <a:gdLst>
              <a:gd name="connsiteX0" fmla="*/ 7330874 w 11848094"/>
              <a:gd name="connsiteY0" fmla="*/ 6911371 h 6911498"/>
              <a:gd name="connsiteX1" fmla="*/ 7330954 w 11848094"/>
              <a:gd name="connsiteY1" fmla="*/ 6911371 h 6911498"/>
              <a:gd name="connsiteX2" fmla="*/ 7330826 w 11848094"/>
              <a:gd name="connsiteY2" fmla="*/ 6911498 h 6911498"/>
              <a:gd name="connsiteX3" fmla="*/ 9890670 w 11848094"/>
              <a:gd name="connsiteY3" fmla="*/ 381 h 6911498"/>
              <a:gd name="connsiteX4" fmla="*/ 11515930 w 11848094"/>
              <a:gd name="connsiteY4" fmla="*/ 381 h 6911498"/>
              <a:gd name="connsiteX5" fmla="*/ 11397534 w 11848094"/>
              <a:gd name="connsiteY5" fmla="*/ 1136735 h 6911498"/>
              <a:gd name="connsiteX6" fmla="*/ 11797112 w 11848094"/>
              <a:gd name="connsiteY6" fmla="*/ 1759148 h 6911498"/>
              <a:gd name="connsiteX7" fmla="*/ 11848094 w 11848094"/>
              <a:gd name="connsiteY7" fmla="*/ 1804299 h 6911498"/>
              <a:gd name="connsiteX8" fmla="*/ 11848094 w 11848094"/>
              <a:gd name="connsiteY8" fmla="*/ 4047105 h 6911498"/>
              <a:gd name="connsiteX9" fmla="*/ 11694538 w 11848094"/>
              <a:gd name="connsiteY9" fmla="*/ 3977684 h 6911498"/>
              <a:gd name="connsiteX10" fmla="*/ 10584904 w 11848094"/>
              <a:gd name="connsiteY10" fmla="*/ 3307052 h 6911498"/>
              <a:gd name="connsiteX11" fmla="*/ 9816862 w 11848094"/>
              <a:gd name="connsiteY11" fmla="*/ 2312726 h 6911498"/>
              <a:gd name="connsiteX12" fmla="*/ 9642828 w 11848094"/>
              <a:gd name="connsiteY12" fmla="*/ 1149440 h 6911498"/>
              <a:gd name="connsiteX13" fmla="*/ 9650958 w 11848094"/>
              <a:gd name="connsiteY13" fmla="*/ 1025323 h 6911498"/>
              <a:gd name="connsiteX14" fmla="*/ 9890670 w 11848094"/>
              <a:gd name="connsiteY14" fmla="*/ 381 h 6911498"/>
              <a:gd name="connsiteX15" fmla="*/ 3795499 w 11848094"/>
              <a:gd name="connsiteY15" fmla="*/ 0 h 6911498"/>
              <a:gd name="connsiteX16" fmla="*/ 5652466 w 11848094"/>
              <a:gd name="connsiteY16" fmla="*/ 0 h 6911498"/>
              <a:gd name="connsiteX17" fmla="*/ 7765788 w 11848094"/>
              <a:gd name="connsiteY17" fmla="*/ 5731697 h 6911498"/>
              <a:gd name="connsiteX18" fmla="*/ 7330874 w 11848094"/>
              <a:gd name="connsiteY18" fmla="*/ 6911371 h 6911498"/>
              <a:gd name="connsiteX19" fmla="*/ 6343906 w 11848094"/>
              <a:gd name="connsiteY19" fmla="*/ 6911371 h 6911498"/>
              <a:gd name="connsiteX20" fmla="*/ 0 w 11848094"/>
              <a:gd name="connsiteY20" fmla="*/ 0 h 6911498"/>
              <a:gd name="connsiteX21" fmla="*/ 670994 w 11848094"/>
              <a:gd name="connsiteY21" fmla="*/ 0 h 6911498"/>
              <a:gd name="connsiteX22" fmla="*/ 2784316 w 11848094"/>
              <a:gd name="connsiteY22" fmla="*/ 5731697 h 6911498"/>
              <a:gd name="connsiteX23" fmla="*/ 2349354 w 11848094"/>
              <a:gd name="connsiteY23" fmla="*/ 6911498 h 6911498"/>
              <a:gd name="connsiteX24" fmla="*/ 1362308 w 11848094"/>
              <a:gd name="connsiteY24" fmla="*/ 6911498 h 6911498"/>
              <a:gd name="connsiteX25" fmla="*/ 0 w 11848094"/>
              <a:gd name="connsiteY25" fmla="*/ 3216806 h 6911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1848094" h="6911498">
                <a:moveTo>
                  <a:pt x="7330874" y="6911371"/>
                </a:moveTo>
                <a:lnTo>
                  <a:pt x="7330954" y="6911371"/>
                </a:lnTo>
                <a:lnTo>
                  <a:pt x="7330826" y="6911498"/>
                </a:lnTo>
                <a:close/>
                <a:moveTo>
                  <a:pt x="9890670" y="381"/>
                </a:moveTo>
                <a:lnTo>
                  <a:pt x="11515930" y="381"/>
                </a:lnTo>
                <a:cubicBezTo>
                  <a:pt x="11380132" y="245564"/>
                  <a:pt x="11252464" y="692611"/>
                  <a:pt x="11397534" y="1136735"/>
                </a:cubicBezTo>
                <a:cubicBezTo>
                  <a:pt x="11479472" y="1387636"/>
                  <a:pt x="11618722" y="1588614"/>
                  <a:pt x="11797112" y="1759148"/>
                </a:cubicBezTo>
                <a:lnTo>
                  <a:pt x="11848094" y="1804299"/>
                </a:lnTo>
                <a:lnTo>
                  <a:pt x="11848094" y="4047105"/>
                </a:lnTo>
                <a:lnTo>
                  <a:pt x="11694538" y="3977684"/>
                </a:lnTo>
                <a:cubicBezTo>
                  <a:pt x="11302642" y="3794623"/>
                  <a:pt x="10918874" y="3584248"/>
                  <a:pt x="10584904" y="3307052"/>
                </a:cubicBezTo>
                <a:cubicBezTo>
                  <a:pt x="10239882" y="3020580"/>
                  <a:pt x="9977814" y="2733475"/>
                  <a:pt x="9816862" y="2312726"/>
                </a:cubicBezTo>
                <a:cubicBezTo>
                  <a:pt x="9675602" y="1943553"/>
                  <a:pt x="9623900" y="1543256"/>
                  <a:pt x="9642828" y="1149440"/>
                </a:cubicBezTo>
                <a:cubicBezTo>
                  <a:pt x="9644860" y="1108152"/>
                  <a:pt x="9647528" y="1066737"/>
                  <a:pt x="9650958" y="1025323"/>
                </a:cubicBezTo>
                <a:cubicBezTo>
                  <a:pt x="9680048" y="671395"/>
                  <a:pt x="9743818" y="322422"/>
                  <a:pt x="9890670" y="381"/>
                </a:cubicBezTo>
                <a:close/>
                <a:moveTo>
                  <a:pt x="3795499" y="0"/>
                </a:moveTo>
                <a:lnTo>
                  <a:pt x="5652466" y="0"/>
                </a:lnTo>
                <a:lnTo>
                  <a:pt x="7765788" y="5731697"/>
                </a:lnTo>
                <a:lnTo>
                  <a:pt x="7330874" y="6911371"/>
                </a:lnTo>
                <a:lnTo>
                  <a:pt x="6343906" y="6911371"/>
                </a:lnTo>
                <a:close/>
                <a:moveTo>
                  <a:pt x="0" y="0"/>
                </a:moveTo>
                <a:lnTo>
                  <a:pt x="670994" y="0"/>
                </a:lnTo>
                <a:lnTo>
                  <a:pt x="2784316" y="5731697"/>
                </a:lnTo>
                <a:lnTo>
                  <a:pt x="2349354" y="6911498"/>
                </a:lnTo>
                <a:lnTo>
                  <a:pt x="1362308" y="6911498"/>
                </a:lnTo>
                <a:lnTo>
                  <a:pt x="0" y="3216806"/>
                </a:lnTo>
                <a:close/>
              </a:path>
            </a:pathLst>
          </a:custGeom>
          <a:solidFill>
            <a:srgbClr val="F9423A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da-DK" sz="900"/>
          </a:p>
        </p:txBody>
      </p:sp>
      <p:sp>
        <p:nvSpPr>
          <p:cNvPr id="3" name="Freeform 28">
            <a:extLst>
              <a:ext uri="{FF2B5EF4-FFF2-40B4-BE49-F238E27FC236}">
                <a16:creationId xmlns:a16="http://schemas.microsoft.com/office/drawing/2014/main" id="{75FDD79E-5158-1071-6B1B-D6A734DBD6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267565" y="3434139"/>
            <a:ext cx="5924436" cy="3423861"/>
          </a:xfrm>
          <a:custGeom>
            <a:avLst/>
            <a:gdLst>
              <a:gd name="connsiteX0" fmla="*/ 0 w 11848100"/>
              <a:gd name="connsiteY0" fmla="*/ 2085131 h 6847721"/>
              <a:gd name="connsiteX1" fmla="*/ 65605 w 11848100"/>
              <a:gd name="connsiteY1" fmla="*/ 2124432 h 6847721"/>
              <a:gd name="connsiteX2" fmla="*/ 1246201 w 11848100"/>
              <a:gd name="connsiteY2" fmla="*/ 2650644 h 6847721"/>
              <a:gd name="connsiteX3" fmla="*/ 2551466 w 11848100"/>
              <a:gd name="connsiteY3" fmla="*/ 3430403 h 6847721"/>
              <a:gd name="connsiteX4" fmla="*/ 3514760 w 11848100"/>
              <a:gd name="connsiteY4" fmla="*/ 5253016 h 6847721"/>
              <a:gd name="connsiteX5" fmla="*/ 3524540 w 11848100"/>
              <a:gd name="connsiteY5" fmla="*/ 5523225 h 6847721"/>
              <a:gd name="connsiteX6" fmla="*/ 3373517 w 11848100"/>
              <a:gd name="connsiteY6" fmla="*/ 6559057 h 6847721"/>
              <a:gd name="connsiteX7" fmla="*/ 3255597 w 11848100"/>
              <a:gd name="connsiteY7" fmla="*/ 6847721 h 6847721"/>
              <a:gd name="connsiteX8" fmla="*/ 1598282 w 11848100"/>
              <a:gd name="connsiteY8" fmla="*/ 6847721 h 6847721"/>
              <a:gd name="connsiteX9" fmla="*/ 1637461 w 11848100"/>
              <a:gd name="connsiteY9" fmla="*/ 6776019 h 6847721"/>
              <a:gd name="connsiteX10" fmla="*/ 1846814 w 11848100"/>
              <a:gd name="connsiteY10" fmla="*/ 5877661 h 6847721"/>
              <a:gd name="connsiteX11" fmla="*/ 180541 w 11848100"/>
              <a:gd name="connsiteY11" fmla="*/ 4293667 h 6847721"/>
              <a:gd name="connsiteX12" fmla="*/ 0 w 11848100"/>
              <a:gd name="connsiteY12" fmla="*/ 4212390 h 6847721"/>
              <a:gd name="connsiteX13" fmla="*/ 10297812 w 11848100"/>
              <a:gd name="connsiteY13" fmla="*/ 129 h 6847721"/>
              <a:gd name="connsiteX14" fmla="*/ 11848100 w 11848100"/>
              <a:gd name="connsiteY14" fmla="*/ 129 h 6847721"/>
              <a:gd name="connsiteX15" fmla="*/ 11848100 w 11848100"/>
              <a:gd name="connsiteY15" fmla="*/ 6847721 h 6847721"/>
              <a:gd name="connsiteX16" fmla="*/ 10325436 w 11848100"/>
              <a:gd name="connsiteY16" fmla="*/ 6847721 h 6847721"/>
              <a:gd name="connsiteX17" fmla="*/ 10422324 w 11848100"/>
              <a:gd name="connsiteY17" fmla="*/ 6731900 h 6847721"/>
              <a:gd name="connsiteX18" fmla="*/ 11516568 w 11848100"/>
              <a:gd name="connsiteY18" fmla="*/ 3442853 h 6847721"/>
              <a:gd name="connsiteX19" fmla="*/ 11516568 w 11848100"/>
              <a:gd name="connsiteY19" fmla="*/ 3438152 h 6847721"/>
              <a:gd name="connsiteX20" fmla="*/ 10297812 w 11848100"/>
              <a:gd name="connsiteY20" fmla="*/ 129 h 6847721"/>
              <a:gd name="connsiteX21" fmla="*/ 5789284 w 11848100"/>
              <a:gd name="connsiteY21" fmla="*/ 0 h 6847721"/>
              <a:gd name="connsiteX22" fmla="*/ 7559488 w 11848100"/>
              <a:gd name="connsiteY22" fmla="*/ 0 h 6847721"/>
              <a:gd name="connsiteX23" fmla="*/ 7559488 w 11848100"/>
              <a:gd name="connsiteY23" fmla="*/ 6847721 h 6847721"/>
              <a:gd name="connsiteX24" fmla="*/ 5789284 w 11848100"/>
              <a:gd name="connsiteY24" fmla="*/ 6847721 h 6847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1848100" h="6847721">
                <a:moveTo>
                  <a:pt x="0" y="2085131"/>
                </a:moveTo>
                <a:lnTo>
                  <a:pt x="65605" y="2124432"/>
                </a:lnTo>
                <a:cubicBezTo>
                  <a:pt x="440739" y="2333927"/>
                  <a:pt x="858496" y="2470013"/>
                  <a:pt x="1246201" y="2650644"/>
                </a:cubicBezTo>
                <a:cubicBezTo>
                  <a:pt x="1710634" y="2866990"/>
                  <a:pt x="2162999" y="3093118"/>
                  <a:pt x="2551466" y="3430403"/>
                </a:cubicBezTo>
                <a:cubicBezTo>
                  <a:pt x="3115874" y="3920516"/>
                  <a:pt x="3458864" y="4501841"/>
                  <a:pt x="3514760" y="5253016"/>
                </a:cubicBezTo>
                <a:cubicBezTo>
                  <a:pt x="3521492" y="5342831"/>
                  <a:pt x="3524540" y="5433029"/>
                  <a:pt x="3524540" y="5523225"/>
                </a:cubicBezTo>
                <a:cubicBezTo>
                  <a:pt x="3524540" y="5876042"/>
                  <a:pt x="3482952" y="6226714"/>
                  <a:pt x="3373517" y="6559057"/>
                </a:cubicBezTo>
                <a:lnTo>
                  <a:pt x="3255597" y="6847721"/>
                </a:lnTo>
                <a:lnTo>
                  <a:pt x="1598282" y="6847721"/>
                </a:lnTo>
                <a:lnTo>
                  <a:pt x="1637461" y="6776019"/>
                </a:lnTo>
                <a:cubicBezTo>
                  <a:pt x="1771299" y="6512319"/>
                  <a:pt x="1867266" y="6183902"/>
                  <a:pt x="1846814" y="5877661"/>
                </a:cubicBezTo>
                <a:cubicBezTo>
                  <a:pt x="1795795" y="5118785"/>
                  <a:pt x="978369" y="4660743"/>
                  <a:pt x="180541" y="4293667"/>
                </a:cubicBezTo>
                <a:lnTo>
                  <a:pt x="0" y="4212390"/>
                </a:lnTo>
                <a:close/>
                <a:moveTo>
                  <a:pt x="10297812" y="129"/>
                </a:moveTo>
                <a:lnTo>
                  <a:pt x="11848100" y="129"/>
                </a:lnTo>
                <a:lnTo>
                  <a:pt x="11848100" y="6847721"/>
                </a:lnTo>
                <a:lnTo>
                  <a:pt x="10325436" y="6847721"/>
                </a:lnTo>
                <a:lnTo>
                  <a:pt x="10422324" y="6731900"/>
                </a:lnTo>
                <a:cubicBezTo>
                  <a:pt x="11050988" y="5943926"/>
                  <a:pt x="11516568" y="4798904"/>
                  <a:pt x="11516568" y="3442853"/>
                </a:cubicBezTo>
                <a:lnTo>
                  <a:pt x="11516568" y="3438152"/>
                </a:lnTo>
                <a:cubicBezTo>
                  <a:pt x="11516568" y="1994113"/>
                  <a:pt x="10988620" y="789287"/>
                  <a:pt x="10297812" y="129"/>
                </a:cubicBezTo>
                <a:close/>
                <a:moveTo>
                  <a:pt x="5789284" y="0"/>
                </a:moveTo>
                <a:lnTo>
                  <a:pt x="7559488" y="0"/>
                </a:lnTo>
                <a:lnTo>
                  <a:pt x="7559488" y="6847721"/>
                </a:lnTo>
                <a:lnTo>
                  <a:pt x="5789284" y="6847721"/>
                </a:lnTo>
                <a:close/>
              </a:path>
            </a:pathLst>
          </a:custGeom>
          <a:solidFill>
            <a:srgbClr val="EFF1F4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da-DK" sz="9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5AE4EB8-BECF-EBD0-9126-361817EE53B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-1" y="0"/>
            <a:ext cx="6267565" cy="6858000"/>
          </a:xfrm>
        </p:spPr>
        <p:txBody>
          <a:bodyPr bIns="2808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51BC1020-1D61-99ED-B8DC-CD2E66C0CE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4401" y="343694"/>
            <a:ext cx="1005966" cy="472262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a-DK"/>
              <a:t>  </a:t>
            </a: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31E0CDCA-4D06-B830-F24B-826FF5BAA2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0154" y="5847948"/>
            <a:ext cx="3692962" cy="66715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 cap="none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135000" indent="-135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7B38B57C-C8CB-F478-E367-7DF8F55C54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67565" y="494"/>
            <a:ext cx="5924433" cy="3455749"/>
          </a:xfrm>
          <a:custGeom>
            <a:avLst/>
            <a:gdLst>
              <a:gd name="connsiteX0" fmla="*/ 7330874 w 11848094"/>
              <a:gd name="connsiteY0" fmla="*/ 6911371 h 6911498"/>
              <a:gd name="connsiteX1" fmla="*/ 7330954 w 11848094"/>
              <a:gd name="connsiteY1" fmla="*/ 6911371 h 6911498"/>
              <a:gd name="connsiteX2" fmla="*/ 7330826 w 11848094"/>
              <a:gd name="connsiteY2" fmla="*/ 6911498 h 6911498"/>
              <a:gd name="connsiteX3" fmla="*/ 9890670 w 11848094"/>
              <a:gd name="connsiteY3" fmla="*/ 381 h 6911498"/>
              <a:gd name="connsiteX4" fmla="*/ 11515930 w 11848094"/>
              <a:gd name="connsiteY4" fmla="*/ 381 h 6911498"/>
              <a:gd name="connsiteX5" fmla="*/ 11397534 w 11848094"/>
              <a:gd name="connsiteY5" fmla="*/ 1136735 h 6911498"/>
              <a:gd name="connsiteX6" fmla="*/ 11797112 w 11848094"/>
              <a:gd name="connsiteY6" fmla="*/ 1759148 h 6911498"/>
              <a:gd name="connsiteX7" fmla="*/ 11848094 w 11848094"/>
              <a:gd name="connsiteY7" fmla="*/ 1804299 h 6911498"/>
              <a:gd name="connsiteX8" fmla="*/ 11848094 w 11848094"/>
              <a:gd name="connsiteY8" fmla="*/ 4047105 h 6911498"/>
              <a:gd name="connsiteX9" fmla="*/ 11694538 w 11848094"/>
              <a:gd name="connsiteY9" fmla="*/ 3977684 h 6911498"/>
              <a:gd name="connsiteX10" fmla="*/ 10584904 w 11848094"/>
              <a:gd name="connsiteY10" fmla="*/ 3307052 h 6911498"/>
              <a:gd name="connsiteX11" fmla="*/ 9816862 w 11848094"/>
              <a:gd name="connsiteY11" fmla="*/ 2312726 h 6911498"/>
              <a:gd name="connsiteX12" fmla="*/ 9642828 w 11848094"/>
              <a:gd name="connsiteY12" fmla="*/ 1149440 h 6911498"/>
              <a:gd name="connsiteX13" fmla="*/ 9650958 w 11848094"/>
              <a:gd name="connsiteY13" fmla="*/ 1025323 h 6911498"/>
              <a:gd name="connsiteX14" fmla="*/ 9890670 w 11848094"/>
              <a:gd name="connsiteY14" fmla="*/ 381 h 6911498"/>
              <a:gd name="connsiteX15" fmla="*/ 3795499 w 11848094"/>
              <a:gd name="connsiteY15" fmla="*/ 0 h 6911498"/>
              <a:gd name="connsiteX16" fmla="*/ 5652466 w 11848094"/>
              <a:gd name="connsiteY16" fmla="*/ 0 h 6911498"/>
              <a:gd name="connsiteX17" fmla="*/ 7765788 w 11848094"/>
              <a:gd name="connsiteY17" fmla="*/ 5731697 h 6911498"/>
              <a:gd name="connsiteX18" fmla="*/ 7330874 w 11848094"/>
              <a:gd name="connsiteY18" fmla="*/ 6911371 h 6911498"/>
              <a:gd name="connsiteX19" fmla="*/ 6343906 w 11848094"/>
              <a:gd name="connsiteY19" fmla="*/ 6911371 h 6911498"/>
              <a:gd name="connsiteX20" fmla="*/ 0 w 11848094"/>
              <a:gd name="connsiteY20" fmla="*/ 0 h 6911498"/>
              <a:gd name="connsiteX21" fmla="*/ 670994 w 11848094"/>
              <a:gd name="connsiteY21" fmla="*/ 0 h 6911498"/>
              <a:gd name="connsiteX22" fmla="*/ 2784316 w 11848094"/>
              <a:gd name="connsiteY22" fmla="*/ 5731697 h 6911498"/>
              <a:gd name="connsiteX23" fmla="*/ 2349354 w 11848094"/>
              <a:gd name="connsiteY23" fmla="*/ 6911498 h 6911498"/>
              <a:gd name="connsiteX24" fmla="*/ 1362308 w 11848094"/>
              <a:gd name="connsiteY24" fmla="*/ 6911498 h 6911498"/>
              <a:gd name="connsiteX25" fmla="*/ 0 w 11848094"/>
              <a:gd name="connsiteY25" fmla="*/ 3216806 h 6911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1848094" h="6911498">
                <a:moveTo>
                  <a:pt x="7330874" y="6911371"/>
                </a:moveTo>
                <a:lnTo>
                  <a:pt x="7330954" y="6911371"/>
                </a:lnTo>
                <a:lnTo>
                  <a:pt x="7330826" y="6911498"/>
                </a:lnTo>
                <a:close/>
                <a:moveTo>
                  <a:pt x="9890670" y="381"/>
                </a:moveTo>
                <a:lnTo>
                  <a:pt x="11515930" y="381"/>
                </a:lnTo>
                <a:cubicBezTo>
                  <a:pt x="11380132" y="245564"/>
                  <a:pt x="11252464" y="692611"/>
                  <a:pt x="11397534" y="1136735"/>
                </a:cubicBezTo>
                <a:cubicBezTo>
                  <a:pt x="11479472" y="1387636"/>
                  <a:pt x="11618722" y="1588614"/>
                  <a:pt x="11797112" y="1759148"/>
                </a:cubicBezTo>
                <a:lnTo>
                  <a:pt x="11848094" y="1804299"/>
                </a:lnTo>
                <a:lnTo>
                  <a:pt x="11848094" y="4047105"/>
                </a:lnTo>
                <a:lnTo>
                  <a:pt x="11694538" y="3977684"/>
                </a:lnTo>
                <a:cubicBezTo>
                  <a:pt x="11302642" y="3794623"/>
                  <a:pt x="10918874" y="3584248"/>
                  <a:pt x="10584904" y="3307052"/>
                </a:cubicBezTo>
                <a:cubicBezTo>
                  <a:pt x="10239882" y="3020580"/>
                  <a:pt x="9977814" y="2733475"/>
                  <a:pt x="9816862" y="2312726"/>
                </a:cubicBezTo>
                <a:cubicBezTo>
                  <a:pt x="9675602" y="1943553"/>
                  <a:pt x="9623900" y="1543256"/>
                  <a:pt x="9642828" y="1149440"/>
                </a:cubicBezTo>
                <a:cubicBezTo>
                  <a:pt x="9644860" y="1108152"/>
                  <a:pt x="9647528" y="1066737"/>
                  <a:pt x="9650958" y="1025323"/>
                </a:cubicBezTo>
                <a:cubicBezTo>
                  <a:pt x="9680048" y="671395"/>
                  <a:pt x="9743818" y="322422"/>
                  <a:pt x="9890670" y="381"/>
                </a:cubicBezTo>
                <a:close/>
                <a:moveTo>
                  <a:pt x="3795499" y="0"/>
                </a:moveTo>
                <a:lnTo>
                  <a:pt x="5652466" y="0"/>
                </a:lnTo>
                <a:lnTo>
                  <a:pt x="7765788" y="5731697"/>
                </a:lnTo>
                <a:lnTo>
                  <a:pt x="7330874" y="6911371"/>
                </a:lnTo>
                <a:lnTo>
                  <a:pt x="6343906" y="6911371"/>
                </a:lnTo>
                <a:close/>
                <a:moveTo>
                  <a:pt x="0" y="0"/>
                </a:moveTo>
                <a:lnTo>
                  <a:pt x="670994" y="0"/>
                </a:lnTo>
                <a:lnTo>
                  <a:pt x="2784316" y="5731697"/>
                </a:lnTo>
                <a:lnTo>
                  <a:pt x="2349354" y="6911498"/>
                </a:lnTo>
                <a:lnTo>
                  <a:pt x="1362308" y="6911498"/>
                </a:lnTo>
                <a:lnTo>
                  <a:pt x="0" y="3216806"/>
                </a:lnTo>
                <a:close/>
              </a:path>
            </a:pathLst>
          </a:custGeom>
          <a:solidFill>
            <a:srgbClr val="F9423A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da-DK" sz="900"/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662D7A19-F103-E7F0-71A1-AE5CDCCC0F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67565" y="3434139"/>
            <a:ext cx="5924436" cy="3423861"/>
          </a:xfrm>
          <a:custGeom>
            <a:avLst/>
            <a:gdLst>
              <a:gd name="connsiteX0" fmla="*/ 0 w 11848100"/>
              <a:gd name="connsiteY0" fmla="*/ 2085131 h 6847721"/>
              <a:gd name="connsiteX1" fmla="*/ 65605 w 11848100"/>
              <a:gd name="connsiteY1" fmla="*/ 2124432 h 6847721"/>
              <a:gd name="connsiteX2" fmla="*/ 1246201 w 11848100"/>
              <a:gd name="connsiteY2" fmla="*/ 2650644 h 6847721"/>
              <a:gd name="connsiteX3" fmla="*/ 2551466 w 11848100"/>
              <a:gd name="connsiteY3" fmla="*/ 3430403 h 6847721"/>
              <a:gd name="connsiteX4" fmla="*/ 3514760 w 11848100"/>
              <a:gd name="connsiteY4" fmla="*/ 5253016 h 6847721"/>
              <a:gd name="connsiteX5" fmla="*/ 3524540 w 11848100"/>
              <a:gd name="connsiteY5" fmla="*/ 5523225 h 6847721"/>
              <a:gd name="connsiteX6" fmla="*/ 3373517 w 11848100"/>
              <a:gd name="connsiteY6" fmla="*/ 6559057 h 6847721"/>
              <a:gd name="connsiteX7" fmla="*/ 3255597 w 11848100"/>
              <a:gd name="connsiteY7" fmla="*/ 6847721 h 6847721"/>
              <a:gd name="connsiteX8" fmla="*/ 1598282 w 11848100"/>
              <a:gd name="connsiteY8" fmla="*/ 6847721 h 6847721"/>
              <a:gd name="connsiteX9" fmla="*/ 1637461 w 11848100"/>
              <a:gd name="connsiteY9" fmla="*/ 6776019 h 6847721"/>
              <a:gd name="connsiteX10" fmla="*/ 1846814 w 11848100"/>
              <a:gd name="connsiteY10" fmla="*/ 5877661 h 6847721"/>
              <a:gd name="connsiteX11" fmla="*/ 180541 w 11848100"/>
              <a:gd name="connsiteY11" fmla="*/ 4293667 h 6847721"/>
              <a:gd name="connsiteX12" fmla="*/ 0 w 11848100"/>
              <a:gd name="connsiteY12" fmla="*/ 4212390 h 6847721"/>
              <a:gd name="connsiteX13" fmla="*/ 10297812 w 11848100"/>
              <a:gd name="connsiteY13" fmla="*/ 129 h 6847721"/>
              <a:gd name="connsiteX14" fmla="*/ 11848100 w 11848100"/>
              <a:gd name="connsiteY14" fmla="*/ 129 h 6847721"/>
              <a:gd name="connsiteX15" fmla="*/ 11848100 w 11848100"/>
              <a:gd name="connsiteY15" fmla="*/ 6847721 h 6847721"/>
              <a:gd name="connsiteX16" fmla="*/ 10325436 w 11848100"/>
              <a:gd name="connsiteY16" fmla="*/ 6847721 h 6847721"/>
              <a:gd name="connsiteX17" fmla="*/ 10422324 w 11848100"/>
              <a:gd name="connsiteY17" fmla="*/ 6731900 h 6847721"/>
              <a:gd name="connsiteX18" fmla="*/ 11516568 w 11848100"/>
              <a:gd name="connsiteY18" fmla="*/ 3442853 h 6847721"/>
              <a:gd name="connsiteX19" fmla="*/ 11516568 w 11848100"/>
              <a:gd name="connsiteY19" fmla="*/ 3438152 h 6847721"/>
              <a:gd name="connsiteX20" fmla="*/ 10297812 w 11848100"/>
              <a:gd name="connsiteY20" fmla="*/ 129 h 6847721"/>
              <a:gd name="connsiteX21" fmla="*/ 5789284 w 11848100"/>
              <a:gd name="connsiteY21" fmla="*/ 0 h 6847721"/>
              <a:gd name="connsiteX22" fmla="*/ 7559488 w 11848100"/>
              <a:gd name="connsiteY22" fmla="*/ 0 h 6847721"/>
              <a:gd name="connsiteX23" fmla="*/ 7559488 w 11848100"/>
              <a:gd name="connsiteY23" fmla="*/ 6847721 h 6847721"/>
              <a:gd name="connsiteX24" fmla="*/ 5789284 w 11848100"/>
              <a:gd name="connsiteY24" fmla="*/ 6847721 h 6847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1848100" h="6847721">
                <a:moveTo>
                  <a:pt x="0" y="2085131"/>
                </a:moveTo>
                <a:lnTo>
                  <a:pt x="65605" y="2124432"/>
                </a:lnTo>
                <a:cubicBezTo>
                  <a:pt x="440739" y="2333927"/>
                  <a:pt x="858496" y="2470013"/>
                  <a:pt x="1246201" y="2650644"/>
                </a:cubicBezTo>
                <a:cubicBezTo>
                  <a:pt x="1710634" y="2866990"/>
                  <a:pt x="2162999" y="3093118"/>
                  <a:pt x="2551466" y="3430403"/>
                </a:cubicBezTo>
                <a:cubicBezTo>
                  <a:pt x="3115874" y="3920516"/>
                  <a:pt x="3458864" y="4501841"/>
                  <a:pt x="3514760" y="5253016"/>
                </a:cubicBezTo>
                <a:cubicBezTo>
                  <a:pt x="3521492" y="5342831"/>
                  <a:pt x="3524540" y="5433029"/>
                  <a:pt x="3524540" y="5523225"/>
                </a:cubicBezTo>
                <a:cubicBezTo>
                  <a:pt x="3524540" y="5876042"/>
                  <a:pt x="3482952" y="6226714"/>
                  <a:pt x="3373517" y="6559057"/>
                </a:cubicBezTo>
                <a:lnTo>
                  <a:pt x="3255597" y="6847721"/>
                </a:lnTo>
                <a:lnTo>
                  <a:pt x="1598282" y="6847721"/>
                </a:lnTo>
                <a:lnTo>
                  <a:pt x="1637461" y="6776019"/>
                </a:lnTo>
                <a:cubicBezTo>
                  <a:pt x="1771299" y="6512319"/>
                  <a:pt x="1867266" y="6183902"/>
                  <a:pt x="1846814" y="5877661"/>
                </a:cubicBezTo>
                <a:cubicBezTo>
                  <a:pt x="1795795" y="5118785"/>
                  <a:pt x="978369" y="4660743"/>
                  <a:pt x="180541" y="4293667"/>
                </a:cubicBezTo>
                <a:lnTo>
                  <a:pt x="0" y="4212390"/>
                </a:lnTo>
                <a:close/>
                <a:moveTo>
                  <a:pt x="10297812" y="129"/>
                </a:moveTo>
                <a:lnTo>
                  <a:pt x="11848100" y="129"/>
                </a:lnTo>
                <a:lnTo>
                  <a:pt x="11848100" y="6847721"/>
                </a:lnTo>
                <a:lnTo>
                  <a:pt x="10325436" y="6847721"/>
                </a:lnTo>
                <a:lnTo>
                  <a:pt x="10422324" y="6731900"/>
                </a:lnTo>
                <a:cubicBezTo>
                  <a:pt x="11050988" y="5943926"/>
                  <a:pt x="11516568" y="4798904"/>
                  <a:pt x="11516568" y="3442853"/>
                </a:cubicBezTo>
                <a:lnTo>
                  <a:pt x="11516568" y="3438152"/>
                </a:lnTo>
                <a:cubicBezTo>
                  <a:pt x="11516568" y="1994113"/>
                  <a:pt x="10988620" y="789287"/>
                  <a:pt x="10297812" y="129"/>
                </a:cubicBezTo>
                <a:close/>
                <a:moveTo>
                  <a:pt x="5789284" y="0"/>
                </a:moveTo>
                <a:lnTo>
                  <a:pt x="7559488" y="0"/>
                </a:lnTo>
                <a:lnTo>
                  <a:pt x="7559488" y="6847721"/>
                </a:lnTo>
                <a:lnTo>
                  <a:pt x="5789284" y="6847721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da-DK" sz="900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CFFF592A-5D48-01A8-3F5E-838FD41069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63586" y="1713053"/>
            <a:ext cx="3935649" cy="3773347"/>
          </a:xfrm>
          <a:solidFill>
            <a:schemeClr val="bg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217747AB-0152-84D3-BDA3-208107FE7A50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1"/>
            </p:custDataLst>
          </p:nvPr>
        </p:nvSpPr>
        <p:spPr>
          <a:xfrm>
            <a:off x="7430109" y="4969790"/>
            <a:ext cx="3692962" cy="436466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 cap="none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135000" indent="-135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</p:spTree>
    <p:extLst>
      <p:ext uri="{BB962C8B-B14F-4D97-AF65-F5344CB8AC3E}">
        <p14:creationId xmlns:p14="http://schemas.microsoft.com/office/powerpoint/2010/main" val="17494384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ject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3F7784C-DEBA-3468-B59B-5DAD73E6AE8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030288"/>
            <a:ext cx="3947576" cy="445293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4A56565E-D28B-6BA5-8D1F-DD8A4381EE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0153" y="5622925"/>
            <a:ext cx="2966609" cy="68421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 cap="none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2pPr>
            <a:lvl3pPr marL="135000" indent="-135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D5C224D8-52CC-92CA-83E8-7FD1E0C473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295777" y="1030288"/>
            <a:ext cx="3600974" cy="445293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C23AFCB-BF0A-06E9-AD94-1AB0286FF4B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95777" y="5622925"/>
            <a:ext cx="2966609" cy="68421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 cap="none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2pPr>
            <a:lvl3pPr marL="135000" indent="-135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15" name="Picture Placeholder 11">
            <a:extLst>
              <a:ext uri="{FF2B5EF4-FFF2-40B4-BE49-F238E27FC236}">
                <a16:creationId xmlns:a16="http://schemas.microsoft.com/office/drawing/2014/main" id="{62FA86A3-D1F8-CE2E-F4A5-36C59719229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243353" y="1030288"/>
            <a:ext cx="3948646" cy="445293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29E8C645-5B5A-8FDD-A499-22A85E9BCE9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43353" y="5622925"/>
            <a:ext cx="2966609" cy="68421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 cap="none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2pPr>
            <a:lvl3pPr marL="135000" indent="-135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5" name="Footer Placehold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WSP | Footer goes here | Date</a:t>
            </a:r>
          </a:p>
        </p:txBody>
      </p:sp>
      <p:sp>
        <p:nvSpPr>
          <p:cNvPr id="6" name="Slide Number Placeholder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232938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C, Agend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1C0DE16D-DC52-A715-4CD1-35A654E069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1289138"/>
            <a:ext cx="11506199" cy="972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36428CDC-BECF-1700-FBD9-E47AAF6194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9702" y="2972491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00</a:t>
            </a:r>
          </a:p>
          <a:p>
            <a:pPr lvl="1"/>
            <a:endParaRPr lang="da-DK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958EC97-F459-CB1F-30D6-AFA60418F2C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29004" y="3072369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F1649CBD-5A8E-F75F-2515-D628FF754B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9702" y="39908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00</a:t>
            </a:r>
          </a:p>
          <a:p>
            <a:pPr lvl="1"/>
            <a:endParaRPr lang="da-DK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05838D1A-0376-649E-6951-71776BD9A36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29004" y="40906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BE9694B7-988C-8322-B792-C88E246967F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9702" y="50195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00</a:t>
            </a:r>
          </a:p>
          <a:p>
            <a:pPr lvl="1"/>
            <a:endParaRPr lang="da-DK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8106EED9-7707-B2B5-9D90-35A6C3CB808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29004" y="51193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1DF0891E-4679-7763-96EE-40F0733C211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94188" y="2972491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00</a:t>
            </a:r>
          </a:p>
          <a:p>
            <a:pPr lvl="1"/>
            <a:endParaRPr lang="da-DK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2468DD1D-CC96-EA9D-8593-A5CCB79BCE2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83002" y="3072369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9F1BBE91-B500-C88A-030A-07C10F026C1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94188" y="39908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00</a:t>
            </a:r>
          </a:p>
          <a:p>
            <a:pPr lvl="1"/>
            <a:endParaRPr lang="da-DK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08728887-AEF3-A659-B80D-509BBB6E925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283002" y="40906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20B3DBA4-D1ED-3882-64B5-7E5E4B74ECB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94188" y="50195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00</a:t>
            </a:r>
          </a:p>
          <a:p>
            <a:pPr lvl="1"/>
            <a:endParaRPr lang="da-DK"/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48CAF2DE-513E-2089-A70D-C29B34BB548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283002" y="51193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0818C9C3-7E55-04E0-B509-8FBD49EB9CC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42300" y="2972491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00</a:t>
            </a:r>
          </a:p>
          <a:p>
            <a:pPr lvl="1"/>
            <a:endParaRPr lang="da-DK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FC3638C-643D-E0EA-EA80-B429D1F7838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228452" y="3072369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984B1A0-2F2B-0F3A-447C-C7E6929C4B3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242300" y="39908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00</a:t>
            </a:r>
          </a:p>
          <a:p>
            <a:pPr lvl="1"/>
            <a:endParaRPr lang="da-DK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A31BA69D-AF3C-F86E-D8D8-9AF9DBAA711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228452" y="40906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61FDAF4-FD67-5B1E-FDBB-369372944F5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242300" y="50195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00</a:t>
            </a:r>
          </a:p>
          <a:p>
            <a:pPr lvl="1"/>
            <a:endParaRPr lang="da-DK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F02B847-83B2-C664-EE0A-AF493946A87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228452" y="51193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2" name="Guides">
            <a:extLst>
              <a:ext uri="{FF2B5EF4-FFF2-40B4-BE49-F238E27FC236}">
                <a16:creationId xmlns:a16="http://schemas.microsoft.com/office/drawing/2014/main" id="{C587CF81-528D-2F99-C085-E98AE20C80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700">
              <a:solidFill>
                <a:srgbClr val="FFFFFF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564017-289F-ED30-7D75-9F9520F541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da-DK"/>
              <a:t>WSP | Footer goes here | Dat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6DB41925-2FD8-BD23-1C7F-66FD22FA89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4" name="Guides">
            <a:extLst>
              <a:ext uri="{FF2B5EF4-FFF2-40B4-BE49-F238E27FC236}">
                <a16:creationId xmlns:a16="http://schemas.microsoft.com/office/drawing/2014/main" id="{49E7643B-1D1A-2DE1-619E-99FEA9492F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80733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ntent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E37489D-067D-8C7D-7C99-8AC105A17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FD66723-746C-D68A-DC72-FE661B12196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42900" y="2400299"/>
            <a:ext cx="11506200" cy="3768725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8EAB78-8D9C-0E2E-827A-42CC0FBB23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3E29C8-0B12-5C41-BF4B-DCC4A875C6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40003431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0BF64466-F367-40DF-8BAC-6FB3B331E88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600">
                <a:noFill/>
              </a:defRPr>
            </a:lvl1pPr>
          </a:lstStyle>
          <a:p>
            <a:endParaRPr lang="da-DK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468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headline</a:t>
            </a:r>
            <a:endParaRPr lang="da-DK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58C76A65-4949-4712-B40B-9E02FAB683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8290" y="6375818"/>
            <a:ext cx="511868" cy="365125"/>
          </a:xfrm>
        </p:spPr>
        <p:txBody>
          <a:bodyPr/>
          <a:lstStyle/>
          <a:p>
            <a:fld id="{24C8C45C-947F-4981-8B3F-4F32E973C901}" type="slidenum">
              <a:rPr lang="da-DK" smtClean="0"/>
              <a:pPr/>
              <a:t>‹#›</a:t>
            </a:fld>
            <a:endParaRPr lang="da-DK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048B687-0F53-4E5D-8AAC-7A38FBD02B24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3738282" cy="0"/>
          </a:xfrm>
          <a:prstGeom prst="line">
            <a:avLst/>
          </a:prstGeom>
          <a:ln w="254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4705304-D722-4C7C-B0A0-B4590C46F571}"/>
              </a:ext>
            </a:extLst>
          </p:cNvPr>
          <p:cNvCxnSpPr>
            <a:cxnSpLocks/>
          </p:cNvCxnSpPr>
          <p:nvPr/>
        </p:nvCxnSpPr>
        <p:spPr>
          <a:xfrm>
            <a:off x="11832600" y="6264000"/>
            <a:ext cx="359400" cy="0"/>
          </a:xfrm>
          <a:prstGeom prst="line">
            <a:avLst/>
          </a:prstGeom>
          <a:ln w="762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33967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orient="horz" pos="952" userDrawn="1">
          <p15:clr>
            <a:srgbClr val="A4A3A4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4DD57FF-2311-685F-E90F-AE5230D31D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9B30820-C7F7-14D4-D2E5-1E457033C94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9250" y="2400299"/>
            <a:ext cx="5581650" cy="3768725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BF2E606E-B6B3-7C5A-905E-3122B74AF5B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67450" y="2400299"/>
            <a:ext cx="5581650" cy="376872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8EAB78-8D9C-0E2E-827A-42CC0FBB23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3E29C8-0B12-5C41-BF4B-DCC4A875C6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12130390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A304780-B4E2-870D-699B-166F117834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68276A0-4AE3-3D53-58E7-A8E5CB46FDE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2899" y="2400299"/>
            <a:ext cx="3605213" cy="3768725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77B7F741-53CE-FBAF-E825-D6A8278A519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292600" y="2400299"/>
            <a:ext cx="3605212" cy="3768725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Content Placeholder 9">
            <a:extLst>
              <a:ext uri="{FF2B5EF4-FFF2-40B4-BE49-F238E27FC236}">
                <a16:creationId xmlns:a16="http://schemas.microsoft.com/office/drawing/2014/main" id="{05DEABA2-AF10-F11F-FE17-BBEDB4599C3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242299" y="2400299"/>
            <a:ext cx="3605213" cy="3768725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Slide Number Placeholder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t>‹#›</a:t>
            </a:fld>
            <a:endParaRPr lang="da-DK"/>
          </a:p>
        </p:txBody>
      </p:sp>
      <p:sp>
        <p:nvSpPr>
          <p:cNvPr id="5" name="Footer Placehold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10179598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FEC153-62BA-F754-A1BC-EFCE43220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E0ADA7C-694A-1BDC-6220-3B2E96ED649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4487" y="2400300"/>
            <a:ext cx="2617787" cy="3768724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2BA123FA-2A3A-2966-75C1-FAFE59CA58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303588" y="2400299"/>
            <a:ext cx="2622550" cy="3768725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A7563498-E7E0-B663-9071-27FF537D39E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65863" y="2400299"/>
            <a:ext cx="2622550" cy="3768725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E345F21B-27EA-D962-745A-3B27ACA6CB4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228138" y="2400299"/>
            <a:ext cx="2618847" cy="3768725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Slide Number Placeholder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t>‹#›</a:t>
            </a:fld>
            <a:endParaRPr lang="da-DK"/>
          </a:p>
        </p:txBody>
      </p:sp>
      <p:sp>
        <p:nvSpPr>
          <p:cNvPr id="5" name="Footer Placehold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3274546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0C159CA-A262-362C-5775-D3132FB48C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ACD4E0C-F9AE-C153-6EB8-2B84273954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649DA47-95C3-2A0A-8E7B-5B912AFF3D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7427314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oter Only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03E0AF8-59D2-2C86-862E-B9AF1AF4E2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WSP | Footer goes here | Dat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08487F-9641-2D5F-353C-63C5BC99EA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pPr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286692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56520F-ABF1-5D81-DC88-2AD1237A0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1373188"/>
            <a:ext cx="4938714" cy="972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106D247-071A-FF29-B2CC-938A3C02AF2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2900" y="2400299"/>
            <a:ext cx="4938714" cy="3768725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C9730FF5-9B12-5F43-0AB1-DCA73F1514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a-DK"/>
              <a:t>WSP | Footer goes here | Dat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1C3AC075-B944-2E97-5B26-EFA778BDCF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3" name="Background Picture Placeholder 9">
            <a:extLst>
              <a:ext uri="{FF2B5EF4-FFF2-40B4-BE49-F238E27FC236}">
                <a16:creationId xmlns:a16="http://schemas.microsoft.com/office/drawing/2014/main" id="{FB243136-97D2-C81C-9967-41C7C98C5D5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noFill/>
        </p:spPr>
        <p:txBody>
          <a:bodyPr bIns="2808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</p:spTree>
    <p:extLst>
      <p:ext uri="{BB962C8B-B14F-4D97-AF65-F5344CB8AC3E}">
        <p14:creationId xmlns:p14="http://schemas.microsoft.com/office/powerpoint/2010/main" val="4254654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eft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64D0307-F00F-96B4-DC1E-3F6CDF8EDDC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0" y="0"/>
            <a:ext cx="6096000" cy="6858000"/>
          </a:xfrm>
        </p:spPr>
        <p:txBody>
          <a:bodyPr bIns="2808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3" name="Text Placeholder 24">
            <a:extLst>
              <a:ext uri="{FF2B5EF4-FFF2-40B4-BE49-F238E27FC236}">
                <a16:creationId xmlns:a16="http://schemas.microsoft.com/office/drawing/2014/main" id="{C7559A99-82FC-2B0D-F713-B3FD2807B5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4401" y="343694"/>
            <a:ext cx="1005966" cy="472262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a-DK"/>
              <a:t> 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0B5DFB9-3CE6-C688-67D9-9FFDBE2940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0388" y="1373188"/>
            <a:ext cx="4938711" cy="972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131AEE03-67B8-B072-59BD-B0D4751E0E8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10388" y="2400299"/>
            <a:ext cx="4936597" cy="3768725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7C92578-FCDC-644E-698C-0F6354A37F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3552ACA-48D1-2743-58A3-A77133354E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37035277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Top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4FABF04-2D7E-AD64-E77B-9209205C45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0" y="1568"/>
            <a:ext cx="12192000" cy="3427432"/>
          </a:xfrm>
        </p:spPr>
        <p:txBody>
          <a:bodyPr bIns="1080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Click to add picture</a:t>
            </a:r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70A76C6E-EDE2-7ADB-464E-7A4DE53D1E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4401" y="343694"/>
            <a:ext cx="1005966" cy="472262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a-DK"/>
              <a:t> 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2C8041B-1FAD-D976-51C6-5D4C7E931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726" y="3771900"/>
            <a:ext cx="11506199" cy="97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49CF339-B46A-0FB1-4D72-2FCF8F4CFC4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43895" y="4800600"/>
            <a:ext cx="11505205" cy="1368425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447374A-733E-DB31-A2F7-9C1A075CD6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CFA5AF8-33C0-6FE2-1923-0B9E482201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da-DK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29723184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04276A5-6664-5DEF-2698-29B2006E04E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0" y="1030288"/>
            <a:ext cx="12192000" cy="5138737"/>
          </a:xfrm>
        </p:spPr>
        <p:txBody>
          <a:bodyPr bIns="2808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57D11AD-0601-B1AB-EB3B-DBDCBE197E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A333ED0-3984-EB0A-B2E4-74FBFDC484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FAF6F5B-BCEF-E444-1494-05AEBCD21E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9162402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mage and Text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6C5F49D-D6B1-2C44-FFE2-B59EF58C51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AA5F104-EE99-E3EC-5FEC-3194530E5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0E9BE50-EE89-A3B7-F2BD-874D54C6E8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E3CC743F-68BA-BA49-8928-03F6AE35924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41208" y="2743199"/>
            <a:ext cx="2626558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9968A390-5533-673F-1F94-7B3065F66A2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41208" y="4306741"/>
            <a:ext cx="2621067" cy="1851026"/>
          </a:xfrm>
        </p:spPr>
        <p:txBody>
          <a:bodyPr/>
          <a:lstStyle>
            <a:lvl1pPr>
              <a:lnSpc>
                <a:spcPct val="112000"/>
              </a:lnSpc>
              <a:defRPr sz="1200">
                <a:solidFill>
                  <a:schemeClr val="bg1"/>
                </a:solidFill>
              </a:defRPr>
            </a:lvl1pPr>
            <a:lvl2pPr>
              <a:lnSpc>
                <a:spcPct val="1120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ct val="112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12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9C7A74BE-EA09-76DB-772E-89297094C927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301524" y="2743199"/>
            <a:ext cx="2622947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06DCD62A-858B-205C-659B-1A354C7D599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303589" y="4306741"/>
            <a:ext cx="2617464" cy="1851026"/>
          </a:xfrm>
        </p:spPr>
        <p:txBody>
          <a:bodyPr/>
          <a:lstStyle>
            <a:lvl1pPr>
              <a:lnSpc>
                <a:spcPct val="112000"/>
              </a:lnSpc>
              <a:defRPr sz="1200">
                <a:solidFill>
                  <a:schemeClr val="bg1"/>
                </a:solidFill>
              </a:defRPr>
            </a:lvl1pPr>
            <a:lvl2pPr>
              <a:lnSpc>
                <a:spcPct val="1120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ct val="112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12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25B6B0D8-D225-B9AB-22CD-8D1BAC91DEFF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267530" y="2743199"/>
            <a:ext cx="2624782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22CBA33F-9782-D852-2922-FE924336716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67530" y="4306741"/>
            <a:ext cx="2619295" cy="1851026"/>
          </a:xfrm>
        </p:spPr>
        <p:txBody>
          <a:bodyPr/>
          <a:lstStyle>
            <a:lvl1pPr>
              <a:lnSpc>
                <a:spcPct val="112000"/>
              </a:lnSpc>
              <a:defRPr sz="1200">
                <a:solidFill>
                  <a:schemeClr val="bg1"/>
                </a:solidFill>
              </a:defRPr>
            </a:lvl1pPr>
            <a:lvl2pPr>
              <a:lnSpc>
                <a:spcPct val="1120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ct val="112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12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D63D0A73-341D-82DB-9D75-BFE2CC594162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228798" y="2743199"/>
            <a:ext cx="2624782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FC71831C-1615-BDEB-8929-BF98EAB101A8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232900" y="4306741"/>
            <a:ext cx="2619295" cy="1851026"/>
          </a:xfrm>
        </p:spPr>
        <p:txBody>
          <a:bodyPr/>
          <a:lstStyle>
            <a:lvl1pPr>
              <a:lnSpc>
                <a:spcPct val="112000"/>
              </a:lnSpc>
              <a:defRPr sz="1200">
                <a:solidFill>
                  <a:schemeClr val="bg1"/>
                </a:solidFill>
              </a:defRPr>
            </a:lvl1pPr>
            <a:lvl2pPr>
              <a:lnSpc>
                <a:spcPct val="1120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ct val="112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12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9C9E96-E014-25E4-5F68-75B6CBBCEF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D568E7-61F5-D04E-995D-81EF41C01A2A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342DA4E-5B1E-88F5-8C50-F548F136F1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458629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one image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and </a:t>
            </a:r>
            <a:r>
              <a:rPr lang="da-DK" err="1"/>
              <a:t>insert</a:t>
            </a:r>
            <a:r>
              <a:rPr lang="da-DK"/>
              <a:t> image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7CF9518-F533-485C-96A6-A4571873B0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3200" y="6339600"/>
            <a:ext cx="1080000" cy="34105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A19D799-5907-4EC7-82C1-D93D0769DDD1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F86A0B8-2662-4C46-9EA5-A9339075675B}"/>
              </a:ext>
            </a:extLst>
          </p:cNvPr>
          <p:cNvCxnSpPr/>
          <p:nvPr/>
        </p:nvCxnSpPr>
        <p:spPr>
          <a:xfrm flipH="1">
            <a:off x="5800725" y="6264000"/>
            <a:ext cx="2520000" cy="0"/>
          </a:xfrm>
          <a:prstGeom prst="line">
            <a:avLst/>
          </a:prstGeom>
          <a:ln w="920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F7BDB89-0478-4360-AB35-CE8EB6DB9B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9" y="2570696"/>
            <a:ext cx="5367221" cy="48194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lang="da-DK" sz="18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28F54DBF-A067-4A56-8AC3-7876AEEF55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1829426"/>
            <a:ext cx="5367221" cy="67584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headline</a:t>
            </a:r>
            <a:endParaRPr lang="da-DK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F35B9AA-ACD8-4D84-AB72-7C3D1781B7C6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da-DK" smtClean="0">
                <a:solidFill>
                  <a:schemeClr val="bg1"/>
                </a:solidFill>
              </a:rPr>
              <a:pPr/>
              <a:t>‹#›</a:t>
            </a:fld>
            <a:endParaRPr lang="da-DK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42422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3" pos="3839" userDrawn="1">
          <p15:clr>
            <a:srgbClr val="A4A3A4"/>
          </p15:clr>
        </p15:guide>
        <p15:guide id="4" pos="3653" userDrawn="1">
          <p15:clr>
            <a:srgbClr val="A4A3A4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x Image and Text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8A036F4-81C1-DCB9-059C-490B1CF775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AA5F104-EE99-E3EC-5FEC-3194530E5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0E9BE50-EE89-A3B7-F2BD-874D54C6E8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F17DA518-D8D9-3A2D-61CD-CEFC8FD3A4A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41208" y="2743199"/>
            <a:ext cx="1635474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318A72B3-A2C9-855F-0079-4A0FB89E278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315103" y="2743199"/>
            <a:ext cx="1635474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287A59F-49B2-5957-B2BA-F61AE8E5EBC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288997" y="2743199"/>
            <a:ext cx="1635474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820D4450-CA00-26AC-F96A-96A51E63CE3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267530" y="2743199"/>
            <a:ext cx="1635474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4BD9CCF-6609-C397-D47F-EE15ECBE774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241424" y="2743199"/>
            <a:ext cx="1635474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E7B8CCD2-1F75-9A03-7BAE-294A90EA3362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0218106" y="2743199"/>
            <a:ext cx="1635474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264264D8-1BB0-4326-EA82-E920C3C15C2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41208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2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7C646EA0-0E9E-905B-3261-D517DC23DC8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315103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2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33" name="Text Placeholder 15">
            <a:extLst>
              <a:ext uri="{FF2B5EF4-FFF2-40B4-BE49-F238E27FC236}">
                <a16:creationId xmlns:a16="http://schemas.microsoft.com/office/drawing/2014/main" id="{294F290F-24D7-5927-C1DA-F8D6EDD4857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288997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2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39070EE3-8198-2F66-693D-1E4585C7A53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67530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2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61BE88D1-8E21-C871-BF40-A8296F9525D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241424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2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0BBB7FE5-B8EC-98C6-9BB0-F7AAB8F06E0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18106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2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F963EC51-E241-1517-4C20-8FC43877F8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401" y="343694"/>
            <a:ext cx="1004465" cy="476665"/>
          </a:xfrm>
          <a:prstGeom prst="rect">
            <a:avLst/>
          </a:prstGeom>
        </p:spPr>
      </p:pic>
      <p:sp>
        <p:nvSpPr>
          <p:cNvPr id="38" name="Footer Placeholder 37">
            <a:extLst>
              <a:ext uri="{FF2B5EF4-FFF2-40B4-BE49-F238E27FC236}">
                <a16:creationId xmlns:a16="http://schemas.microsoft.com/office/drawing/2014/main" id="{8A10C53C-F074-C81F-696D-64E33F2E18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r>
              <a:rPr lang="da-DK"/>
              <a:t>WSP | Footer goes here | Date</a:t>
            </a:r>
          </a:p>
        </p:txBody>
      </p:sp>
      <p:sp>
        <p:nvSpPr>
          <p:cNvPr id="41" name="Slide Number Placeholder 40">
            <a:extLst>
              <a:ext uri="{FF2B5EF4-FFF2-40B4-BE49-F238E27FC236}">
                <a16:creationId xmlns:a16="http://schemas.microsoft.com/office/drawing/2014/main" id="{FA9D1699-B8AA-370A-1D92-FD784EC649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6917EA5F-CE77-CEF0-59DE-023DB74C5F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401" y="343694"/>
            <a:ext cx="1004465" cy="476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7324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AFAFAF"/>
          </p15:clr>
        </p15:guide>
        <p15:guide id="49" pos="7680">
          <p15:clr>
            <a:srgbClr val="AFAFAF"/>
          </p15:clr>
        </p15:guide>
        <p15:guide id="50" pos="217">
          <p15:clr>
            <a:srgbClr val="AFAFAF"/>
          </p15:clr>
        </p15:guide>
        <p15:guide id="51" pos="621">
          <p15:clr>
            <a:srgbClr val="AFAFAF"/>
          </p15:clr>
        </p15:guide>
        <p15:guide id="52" pos="839">
          <p15:clr>
            <a:srgbClr val="AFAFAF"/>
          </p15:clr>
        </p15:guide>
        <p15:guide id="53" pos="1243">
          <p15:clr>
            <a:srgbClr val="AFAFAF"/>
          </p15:clr>
        </p15:guide>
        <p15:guide id="54" pos="1461">
          <p15:clr>
            <a:srgbClr val="AFAFAF"/>
          </p15:clr>
        </p15:guide>
        <p15:guide id="55" pos="1865">
          <p15:clr>
            <a:srgbClr val="AFAFAF"/>
          </p15:clr>
        </p15:guide>
        <p15:guide id="56" pos="2083">
          <p15:clr>
            <a:srgbClr val="AFAFAF"/>
          </p15:clr>
        </p15:guide>
        <p15:guide id="57" pos="2487">
          <p15:clr>
            <a:srgbClr val="AFAFAF"/>
          </p15:clr>
        </p15:guide>
        <p15:guide id="58" pos="2705">
          <p15:clr>
            <a:srgbClr val="AFAFAF"/>
          </p15:clr>
        </p15:guide>
        <p15:guide id="59" pos="3109">
          <p15:clr>
            <a:srgbClr val="AFAFAF"/>
          </p15:clr>
        </p15:guide>
        <p15:guide id="60" pos="3326">
          <p15:clr>
            <a:srgbClr val="AFAFAF"/>
          </p15:clr>
        </p15:guide>
        <p15:guide id="61" pos="3731">
          <p15:clr>
            <a:srgbClr val="AFAFAF"/>
          </p15:clr>
        </p15:guide>
        <p15:guide id="62" pos="3948">
          <p15:clr>
            <a:srgbClr val="AFAFAF"/>
          </p15:clr>
        </p15:guide>
        <p15:guide id="63" pos="4353">
          <p15:clr>
            <a:srgbClr val="AFAFAF"/>
          </p15:clr>
        </p15:guide>
        <p15:guide id="64" pos="4570">
          <p15:clr>
            <a:srgbClr val="AFAFAF"/>
          </p15:clr>
        </p15:guide>
        <p15:guide id="65" pos="4974">
          <p15:clr>
            <a:srgbClr val="AFAFAF"/>
          </p15:clr>
        </p15:guide>
        <p15:guide id="66" pos="5192">
          <p15:clr>
            <a:srgbClr val="AFAFAF"/>
          </p15:clr>
        </p15:guide>
        <p15:guide id="67" pos="5596">
          <p15:clr>
            <a:srgbClr val="AFAFAF"/>
          </p15:clr>
        </p15:guide>
        <p15:guide id="68" pos="5814">
          <p15:clr>
            <a:srgbClr val="AFAFAF"/>
          </p15:clr>
        </p15:guide>
        <p15:guide id="69" pos="6218">
          <p15:clr>
            <a:srgbClr val="AFAFAF"/>
          </p15:clr>
        </p15:guide>
        <p15:guide id="70" pos="6436">
          <p15:clr>
            <a:srgbClr val="AFAFAF"/>
          </p15:clr>
        </p15:guide>
        <p15:guide id="71" pos="6840">
          <p15:clr>
            <a:srgbClr val="AFAFAF"/>
          </p15:clr>
        </p15:guide>
        <p15:guide id="72" pos="7058">
          <p15:clr>
            <a:srgbClr val="AFAFAF"/>
          </p15:clr>
        </p15:guide>
        <p15:guide id="73" pos="7462">
          <p15:clr>
            <a:srgbClr val="AFAFAF"/>
          </p15:clr>
        </p15:guide>
        <p15:guide id="74" orient="horz">
          <p15:clr>
            <a:srgbClr val="AFAFAF"/>
          </p15:clr>
        </p15:guide>
        <p15:guide id="75" orient="horz" pos="4320">
          <p15:clr>
            <a:srgbClr val="AFAFAF"/>
          </p15:clr>
        </p15:guide>
        <p15:guide id="76" orient="horz" pos="217">
          <p15:clr>
            <a:srgbClr val="AFAFAF"/>
          </p15:clr>
        </p15:guide>
        <p15:guide id="77" orient="horz" pos="433">
          <p15:clr>
            <a:srgbClr val="AFAFAF"/>
          </p15:clr>
        </p15:guide>
        <p15:guide id="78" orient="horz" pos="649">
          <p15:clr>
            <a:srgbClr val="AFAFAF"/>
          </p15:clr>
        </p15:guide>
        <p15:guide id="79" orient="horz" pos="865">
          <p15:clr>
            <a:srgbClr val="AFAFAF"/>
          </p15:clr>
        </p15:guide>
        <p15:guide id="80" orient="horz" pos="1080">
          <p15:clr>
            <a:srgbClr val="AFAFAF"/>
          </p15:clr>
        </p15:guide>
        <p15:guide id="81" orient="horz" pos="1296">
          <p15:clr>
            <a:srgbClr val="AFAFAF"/>
          </p15:clr>
        </p15:guide>
        <p15:guide id="82" orient="horz" pos="1512">
          <p15:clr>
            <a:srgbClr val="AFAFAF"/>
          </p15:clr>
        </p15:guide>
        <p15:guide id="83" orient="horz" pos="1728">
          <p15:clr>
            <a:srgbClr val="AFAFAF"/>
          </p15:clr>
        </p15:guide>
        <p15:guide id="84" orient="horz" pos="1944">
          <p15:clr>
            <a:srgbClr val="AFAFAF"/>
          </p15:clr>
        </p15:guide>
        <p15:guide id="85" orient="horz" pos="2160">
          <p15:clr>
            <a:srgbClr val="AFAFAF"/>
          </p15:clr>
        </p15:guide>
        <p15:guide id="86" orient="horz" pos="2375">
          <p15:clr>
            <a:srgbClr val="AFAFAF"/>
          </p15:clr>
        </p15:guide>
        <p15:guide id="87" orient="horz" pos="2591">
          <p15:clr>
            <a:srgbClr val="AFAFAF"/>
          </p15:clr>
        </p15:guide>
        <p15:guide id="88" orient="horz" pos="2807">
          <p15:clr>
            <a:srgbClr val="AFAFAF"/>
          </p15:clr>
        </p15:guide>
        <p15:guide id="89" orient="horz" pos="3023">
          <p15:clr>
            <a:srgbClr val="AFAFAF"/>
          </p15:clr>
        </p15:guide>
        <p15:guide id="90" orient="horz" pos="3239">
          <p15:clr>
            <a:srgbClr val="AFAFAF"/>
          </p15:clr>
        </p15:guide>
        <p15:guide id="91" orient="horz" pos="3454">
          <p15:clr>
            <a:srgbClr val="AFAFAF"/>
          </p15:clr>
        </p15:guide>
        <p15:guide id="92" orient="horz" pos="3670">
          <p15:clr>
            <a:srgbClr val="AFAFAF"/>
          </p15:clr>
        </p15:guide>
        <p15:guide id="93" orient="horz" pos="3886">
          <p15:clr>
            <a:srgbClr val="AFAFAF"/>
          </p15:clr>
        </p15:guide>
        <p15:guide id="94" orient="horz" pos="4102">
          <p15:clr>
            <a:srgbClr val="AFAFAF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(x4)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FB6167C-9AEC-42D7-1530-33139BDF1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748AD747-8E28-DD10-D5BF-8518E237EC1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44488" y="2055642"/>
            <a:ext cx="2619981" cy="261998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anchor="b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Click to add </a:t>
            </a:r>
            <a:br>
              <a:rPr lang="da-DK"/>
            </a:br>
            <a:r>
              <a:rPr lang="da-DK"/>
              <a:t>Team Photo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D2A98D6C-3F04-53AF-C4A8-4501035CF0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2294" y="5154258"/>
            <a:ext cx="2617873" cy="345606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da-DK"/>
              <a:t>Name Surnam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75A1E741-5224-B294-4BE1-153EF59D5C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293" y="5486400"/>
            <a:ext cx="2617873" cy="341313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da-DK"/>
              <a:t>Add text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4F83CFA-5F8E-8873-148A-EA3E1F950D5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304569" y="2055642"/>
            <a:ext cx="2619981" cy="261998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anchor="b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Click to add </a:t>
            </a:r>
            <a:br>
              <a:rPr lang="da-DK"/>
            </a:br>
            <a:r>
              <a:rPr lang="da-DK"/>
              <a:t>Team Photo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701FEF4-5426-7BE9-BE5E-346A54B12B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03587" y="5154258"/>
            <a:ext cx="2617873" cy="345606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da-DK"/>
              <a:t>Name Surname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4500CAB3-A743-1AF6-CF31-8584B45276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3587" y="5486400"/>
            <a:ext cx="2617873" cy="341313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da-DK"/>
              <a:t>Add text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F5962421-E217-70A5-B59F-2BFAB5F7F8C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71524" y="2055642"/>
            <a:ext cx="2619981" cy="261998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anchor="b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Click to add </a:t>
            </a:r>
            <a:br>
              <a:rPr lang="da-DK"/>
            </a:br>
            <a:r>
              <a:rPr lang="da-DK"/>
              <a:t>Team Photo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82629CA9-17A9-A638-327E-F18796B3E7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0542" y="5154258"/>
            <a:ext cx="2617873" cy="345606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da-DK"/>
              <a:t>Name Surnam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A8A4AD90-F277-CE0E-89B5-9B0825F62BE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0542" y="5486400"/>
            <a:ext cx="2617873" cy="341313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da-DK"/>
              <a:t>Add text</a:t>
            </a:r>
          </a:p>
        </p:txBody>
      </p:sp>
      <p:sp>
        <p:nvSpPr>
          <p:cNvPr id="20" name="Picture Placeholder 9">
            <a:extLst>
              <a:ext uri="{FF2B5EF4-FFF2-40B4-BE49-F238E27FC236}">
                <a16:creationId xmlns:a16="http://schemas.microsoft.com/office/drawing/2014/main" id="{292D5CBE-D7EF-F122-2EF9-E16257B7C50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27004" y="2055642"/>
            <a:ext cx="2619981" cy="261998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anchor="b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Click to add </a:t>
            </a:r>
            <a:br>
              <a:rPr lang="da-DK"/>
            </a:br>
            <a:r>
              <a:rPr lang="da-DK"/>
              <a:t>Team Photo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0E544C57-B306-D539-2A5F-6743F90FFDD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26022" y="5154258"/>
            <a:ext cx="2617873" cy="345606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da-DK"/>
              <a:t>Name Surnam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FCB9643F-9F47-B539-9A15-65A62036276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26022" y="5486400"/>
            <a:ext cx="2617873" cy="341313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da-DK"/>
              <a:t>Add text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ACD4E0C-F9AE-C153-6EB8-2B84273954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649DA47-95C3-2A0A-8E7B-5B912AFF3D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21139127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(x1)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1D1C8DD-9AE7-C49F-B4D5-387DD59151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38074" y="2743200"/>
            <a:ext cx="3608911" cy="1444358"/>
          </a:xfrm>
        </p:spPr>
        <p:txBody>
          <a:bodyPr anchor="b"/>
          <a:lstStyle>
            <a:lvl1pPr>
              <a:defRPr/>
            </a:lvl1pPr>
          </a:lstStyle>
          <a:p>
            <a:r>
              <a:rPr lang="da-DK"/>
              <a:t>Name</a:t>
            </a:r>
            <a:br>
              <a:rPr lang="da-DK"/>
            </a:br>
            <a:r>
              <a:rPr lang="da-DK"/>
              <a:t>Surnam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7AB972-B897-5707-8EC9-9FE4337A79B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238074" y="4352926"/>
            <a:ext cx="3611026" cy="1851024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17E10496-8AE9-D36E-3261-8D3111D31C2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-2112" y="188914"/>
            <a:ext cx="7830861" cy="6669089"/>
          </a:xfrm>
          <a:custGeom>
            <a:avLst/>
            <a:gdLst>
              <a:gd name="connsiteX0" fmla="*/ 3564861 w 7830861"/>
              <a:gd name="connsiteY0" fmla="*/ 0 h 6669089"/>
              <a:gd name="connsiteX1" fmla="*/ 7830861 w 7830861"/>
              <a:gd name="connsiteY1" fmla="*/ 4266000 h 6669089"/>
              <a:gd name="connsiteX2" fmla="*/ 7102295 w 7830861"/>
              <a:gd name="connsiteY2" fmla="*/ 6651162 h 6669089"/>
              <a:gd name="connsiteX3" fmla="*/ 7088889 w 7830861"/>
              <a:gd name="connsiteY3" fmla="*/ 6669089 h 6669089"/>
              <a:gd name="connsiteX4" fmla="*/ 1333500 w 7830861"/>
              <a:gd name="connsiteY4" fmla="*/ 6669089 h 6669089"/>
              <a:gd name="connsiteX5" fmla="*/ 40338 w 7830861"/>
              <a:gd name="connsiteY5" fmla="*/ 6669089 h 6669089"/>
              <a:gd name="connsiteX6" fmla="*/ 0 w 7830861"/>
              <a:gd name="connsiteY6" fmla="*/ 6669089 h 6669089"/>
              <a:gd name="connsiteX7" fmla="*/ 0 w 7830861"/>
              <a:gd name="connsiteY7" fmla="*/ 6608380 h 6669089"/>
              <a:gd name="connsiteX8" fmla="*/ 0 w 7830861"/>
              <a:gd name="connsiteY8" fmla="*/ 5335589 h 6669089"/>
              <a:gd name="connsiteX9" fmla="*/ 0 w 7830861"/>
              <a:gd name="connsiteY9" fmla="*/ 1923620 h 6669089"/>
              <a:gd name="connsiteX10" fmla="*/ 27427 w 7830861"/>
              <a:gd name="connsiteY10" fmla="*/ 1880839 h 6669089"/>
              <a:gd name="connsiteX11" fmla="*/ 3564861 w 7830861"/>
              <a:gd name="connsiteY11" fmla="*/ 0 h 6669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830861" h="6669089">
                <a:moveTo>
                  <a:pt x="3564861" y="0"/>
                </a:moveTo>
                <a:cubicBezTo>
                  <a:pt x="5920908" y="0"/>
                  <a:pt x="7830861" y="1909953"/>
                  <a:pt x="7830861" y="4266000"/>
                </a:cubicBezTo>
                <a:cubicBezTo>
                  <a:pt x="7830861" y="5149518"/>
                  <a:pt x="7562274" y="5970304"/>
                  <a:pt x="7102295" y="6651162"/>
                </a:cubicBezTo>
                <a:lnTo>
                  <a:pt x="7088889" y="6669089"/>
                </a:lnTo>
                <a:lnTo>
                  <a:pt x="1333500" y="6669089"/>
                </a:lnTo>
                <a:lnTo>
                  <a:pt x="40338" y="6669089"/>
                </a:lnTo>
                <a:lnTo>
                  <a:pt x="0" y="6669089"/>
                </a:lnTo>
                <a:lnTo>
                  <a:pt x="0" y="6608380"/>
                </a:lnTo>
                <a:lnTo>
                  <a:pt x="0" y="5335589"/>
                </a:lnTo>
                <a:lnTo>
                  <a:pt x="0" y="1923620"/>
                </a:lnTo>
                <a:lnTo>
                  <a:pt x="27427" y="1880839"/>
                </a:lnTo>
                <a:cubicBezTo>
                  <a:pt x="794058" y="746076"/>
                  <a:pt x="2092332" y="0"/>
                  <a:pt x="3564861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bIns="2700000" anchor="b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ACD4E0C-F9AE-C153-6EB8-2B84273954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649DA47-95C3-2A0A-8E7B-5B912AFF3D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WSP | Footer goes here | Dat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C925B6C-4994-825C-DE4D-38310CF443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401" y="343694"/>
            <a:ext cx="1004465" cy="476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0532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6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roject 1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5AE4EB8-BECF-EBD0-9126-361817EE53B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-1" y="0"/>
            <a:ext cx="6267565" cy="6858000"/>
          </a:xfrm>
        </p:spPr>
        <p:txBody>
          <a:bodyPr bIns="2808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51BC1020-1D61-99ED-B8DC-CD2E66C0CE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4401" y="343694"/>
            <a:ext cx="1005966" cy="472262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a-DK"/>
              <a:t>  </a:t>
            </a: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31E0CDCA-4D06-B830-F24B-826FF5BAA2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0154" y="5847948"/>
            <a:ext cx="3692962" cy="66715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 cap="none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2pPr>
            <a:lvl3pPr marL="135000" indent="-135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7B38B57C-C8CB-F478-E367-7DF8F55C54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67565" y="494"/>
            <a:ext cx="5924433" cy="3455749"/>
          </a:xfrm>
          <a:custGeom>
            <a:avLst/>
            <a:gdLst>
              <a:gd name="connsiteX0" fmla="*/ 7330874 w 11848094"/>
              <a:gd name="connsiteY0" fmla="*/ 6911371 h 6911498"/>
              <a:gd name="connsiteX1" fmla="*/ 7330954 w 11848094"/>
              <a:gd name="connsiteY1" fmla="*/ 6911371 h 6911498"/>
              <a:gd name="connsiteX2" fmla="*/ 7330826 w 11848094"/>
              <a:gd name="connsiteY2" fmla="*/ 6911498 h 6911498"/>
              <a:gd name="connsiteX3" fmla="*/ 9890670 w 11848094"/>
              <a:gd name="connsiteY3" fmla="*/ 381 h 6911498"/>
              <a:gd name="connsiteX4" fmla="*/ 11515930 w 11848094"/>
              <a:gd name="connsiteY4" fmla="*/ 381 h 6911498"/>
              <a:gd name="connsiteX5" fmla="*/ 11397534 w 11848094"/>
              <a:gd name="connsiteY5" fmla="*/ 1136735 h 6911498"/>
              <a:gd name="connsiteX6" fmla="*/ 11797112 w 11848094"/>
              <a:gd name="connsiteY6" fmla="*/ 1759148 h 6911498"/>
              <a:gd name="connsiteX7" fmla="*/ 11848094 w 11848094"/>
              <a:gd name="connsiteY7" fmla="*/ 1804299 h 6911498"/>
              <a:gd name="connsiteX8" fmla="*/ 11848094 w 11848094"/>
              <a:gd name="connsiteY8" fmla="*/ 4047105 h 6911498"/>
              <a:gd name="connsiteX9" fmla="*/ 11694538 w 11848094"/>
              <a:gd name="connsiteY9" fmla="*/ 3977684 h 6911498"/>
              <a:gd name="connsiteX10" fmla="*/ 10584904 w 11848094"/>
              <a:gd name="connsiteY10" fmla="*/ 3307052 h 6911498"/>
              <a:gd name="connsiteX11" fmla="*/ 9816862 w 11848094"/>
              <a:gd name="connsiteY11" fmla="*/ 2312726 h 6911498"/>
              <a:gd name="connsiteX12" fmla="*/ 9642828 w 11848094"/>
              <a:gd name="connsiteY12" fmla="*/ 1149440 h 6911498"/>
              <a:gd name="connsiteX13" fmla="*/ 9650958 w 11848094"/>
              <a:gd name="connsiteY13" fmla="*/ 1025323 h 6911498"/>
              <a:gd name="connsiteX14" fmla="*/ 9890670 w 11848094"/>
              <a:gd name="connsiteY14" fmla="*/ 381 h 6911498"/>
              <a:gd name="connsiteX15" fmla="*/ 3795499 w 11848094"/>
              <a:gd name="connsiteY15" fmla="*/ 0 h 6911498"/>
              <a:gd name="connsiteX16" fmla="*/ 5652466 w 11848094"/>
              <a:gd name="connsiteY16" fmla="*/ 0 h 6911498"/>
              <a:gd name="connsiteX17" fmla="*/ 7765788 w 11848094"/>
              <a:gd name="connsiteY17" fmla="*/ 5731697 h 6911498"/>
              <a:gd name="connsiteX18" fmla="*/ 7330874 w 11848094"/>
              <a:gd name="connsiteY18" fmla="*/ 6911371 h 6911498"/>
              <a:gd name="connsiteX19" fmla="*/ 6343906 w 11848094"/>
              <a:gd name="connsiteY19" fmla="*/ 6911371 h 6911498"/>
              <a:gd name="connsiteX20" fmla="*/ 0 w 11848094"/>
              <a:gd name="connsiteY20" fmla="*/ 0 h 6911498"/>
              <a:gd name="connsiteX21" fmla="*/ 670994 w 11848094"/>
              <a:gd name="connsiteY21" fmla="*/ 0 h 6911498"/>
              <a:gd name="connsiteX22" fmla="*/ 2784316 w 11848094"/>
              <a:gd name="connsiteY22" fmla="*/ 5731697 h 6911498"/>
              <a:gd name="connsiteX23" fmla="*/ 2349354 w 11848094"/>
              <a:gd name="connsiteY23" fmla="*/ 6911498 h 6911498"/>
              <a:gd name="connsiteX24" fmla="*/ 1362308 w 11848094"/>
              <a:gd name="connsiteY24" fmla="*/ 6911498 h 6911498"/>
              <a:gd name="connsiteX25" fmla="*/ 0 w 11848094"/>
              <a:gd name="connsiteY25" fmla="*/ 3216806 h 6911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1848094" h="6911498">
                <a:moveTo>
                  <a:pt x="7330874" y="6911371"/>
                </a:moveTo>
                <a:lnTo>
                  <a:pt x="7330954" y="6911371"/>
                </a:lnTo>
                <a:lnTo>
                  <a:pt x="7330826" y="6911498"/>
                </a:lnTo>
                <a:close/>
                <a:moveTo>
                  <a:pt x="9890670" y="381"/>
                </a:moveTo>
                <a:lnTo>
                  <a:pt x="11515930" y="381"/>
                </a:lnTo>
                <a:cubicBezTo>
                  <a:pt x="11380132" y="245564"/>
                  <a:pt x="11252464" y="692611"/>
                  <a:pt x="11397534" y="1136735"/>
                </a:cubicBezTo>
                <a:cubicBezTo>
                  <a:pt x="11479472" y="1387636"/>
                  <a:pt x="11618722" y="1588614"/>
                  <a:pt x="11797112" y="1759148"/>
                </a:cubicBezTo>
                <a:lnTo>
                  <a:pt x="11848094" y="1804299"/>
                </a:lnTo>
                <a:lnTo>
                  <a:pt x="11848094" y="4047105"/>
                </a:lnTo>
                <a:lnTo>
                  <a:pt x="11694538" y="3977684"/>
                </a:lnTo>
                <a:cubicBezTo>
                  <a:pt x="11302642" y="3794623"/>
                  <a:pt x="10918874" y="3584248"/>
                  <a:pt x="10584904" y="3307052"/>
                </a:cubicBezTo>
                <a:cubicBezTo>
                  <a:pt x="10239882" y="3020580"/>
                  <a:pt x="9977814" y="2733475"/>
                  <a:pt x="9816862" y="2312726"/>
                </a:cubicBezTo>
                <a:cubicBezTo>
                  <a:pt x="9675602" y="1943553"/>
                  <a:pt x="9623900" y="1543256"/>
                  <a:pt x="9642828" y="1149440"/>
                </a:cubicBezTo>
                <a:cubicBezTo>
                  <a:pt x="9644860" y="1108152"/>
                  <a:pt x="9647528" y="1066737"/>
                  <a:pt x="9650958" y="1025323"/>
                </a:cubicBezTo>
                <a:cubicBezTo>
                  <a:pt x="9680048" y="671395"/>
                  <a:pt x="9743818" y="322422"/>
                  <a:pt x="9890670" y="381"/>
                </a:cubicBezTo>
                <a:close/>
                <a:moveTo>
                  <a:pt x="3795499" y="0"/>
                </a:moveTo>
                <a:lnTo>
                  <a:pt x="5652466" y="0"/>
                </a:lnTo>
                <a:lnTo>
                  <a:pt x="7765788" y="5731697"/>
                </a:lnTo>
                <a:lnTo>
                  <a:pt x="7330874" y="6911371"/>
                </a:lnTo>
                <a:lnTo>
                  <a:pt x="6343906" y="6911371"/>
                </a:lnTo>
                <a:close/>
                <a:moveTo>
                  <a:pt x="0" y="0"/>
                </a:moveTo>
                <a:lnTo>
                  <a:pt x="670994" y="0"/>
                </a:lnTo>
                <a:lnTo>
                  <a:pt x="2784316" y="5731697"/>
                </a:lnTo>
                <a:lnTo>
                  <a:pt x="2349354" y="6911498"/>
                </a:lnTo>
                <a:lnTo>
                  <a:pt x="1362308" y="6911498"/>
                </a:lnTo>
                <a:lnTo>
                  <a:pt x="0" y="3216806"/>
                </a:lnTo>
                <a:close/>
              </a:path>
            </a:pathLst>
          </a:custGeom>
          <a:solidFill>
            <a:srgbClr val="F9423A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da-DK" sz="900"/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662D7A19-F103-E7F0-71A1-AE5CDCCC0F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67565" y="3434139"/>
            <a:ext cx="5924436" cy="3423861"/>
          </a:xfrm>
          <a:custGeom>
            <a:avLst/>
            <a:gdLst>
              <a:gd name="connsiteX0" fmla="*/ 0 w 11848100"/>
              <a:gd name="connsiteY0" fmla="*/ 2085131 h 6847721"/>
              <a:gd name="connsiteX1" fmla="*/ 65605 w 11848100"/>
              <a:gd name="connsiteY1" fmla="*/ 2124432 h 6847721"/>
              <a:gd name="connsiteX2" fmla="*/ 1246201 w 11848100"/>
              <a:gd name="connsiteY2" fmla="*/ 2650644 h 6847721"/>
              <a:gd name="connsiteX3" fmla="*/ 2551466 w 11848100"/>
              <a:gd name="connsiteY3" fmla="*/ 3430403 h 6847721"/>
              <a:gd name="connsiteX4" fmla="*/ 3514760 w 11848100"/>
              <a:gd name="connsiteY4" fmla="*/ 5253016 h 6847721"/>
              <a:gd name="connsiteX5" fmla="*/ 3524540 w 11848100"/>
              <a:gd name="connsiteY5" fmla="*/ 5523225 h 6847721"/>
              <a:gd name="connsiteX6" fmla="*/ 3373517 w 11848100"/>
              <a:gd name="connsiteY6" fmla="*/ 6559057 h 6847721"/>
              <a:gd name="connsiteX7" fmla="*/ 3255597 w 11848100"/>
              <a:gd name="connsiteY7" fmla="*/ 6847721 h 6847721"/>
              <a:gd name="connsiteX8" fmla="*/ 1598282 w 11848100"/>
              <a:gd name="connsiteY8" fmla="*/ 6847721 h 6847721"/>
              <a:gd name="connsiteX9" fmla="*/ 1637461 w 11848100"/>
              <a:gd name="connsiteY9" fmla="*/ 6776019 h 6847721"/>
              <a:gd name="connsiteX10" fmla="*/ 1846814 w 11848100"/>
              <a:gd name="connsiteY10" fmla="*/ 5877661 h 6847721"/>
              <a:gd name="connsiteX11" fmla="*/ 180541 w 11848100"/>
              <a:gd name="connsiteY11" fmla="*/ 4293667 h 6847721"/>
              <a:gd name="connsiteX12" fmla="*/ 0 w 11848100"/>
              <a:gd name="connsiteY12" fmla="*/ 4212390 h 6847721"/>
              <a:gd name="connsiteX13" fmla="*/ 10297812 w 11848100"/>
              <a:gd name="connsiteY13" fmla="*/ 129 h 6847721"/>
              <a:gd name="connsiteX14" fmla="*/ 11848100 w 11848100"/>
              <a:gd name="connsiteY14" fmla="*/ 129 h 6847721"/>
              <a:gd name="connsiteX15" fmla="*/ 11848100 w 11848100"/>
              <a:gd name="connsiteY15" fmla="*/ 6847721 h 6847721"/>
              <a:gd name="connsiteX16" fmla="*/ 10325436 w 11848100"/>
              <a:gd name="connsiteY16" fmla="*/ 6847721 h 6847721"/>
              <a:gd name="connsiteX17" fmla="*/ 10422324 w 11848100"/>
              <a:gd name="connsiteY17" fmla="*/ 6731900 h 6847721"/>
              <a:gd name="connsiteX18" fmla="*/ 11516568 w 11848100"/>
              <a:gd name="connsiteY18" fmla="*/ 3442853 h 6847721"/>
              <a:gd name="connsiteX19" fmla="*/ 11516568 w 11848100"/>
              <a:gd name="connsiteY19" fmla="*/ 3438152 h 6847721"/>
              <a:gd name="connsiteX20" fmla="*/ 10297812 w 11848100"/>
              <a:gd name="connsiteY20" fmla="*/ 129 h 6847721"/>
              <a:gd name="connsiteX21" fmla="*/ 5789284 w 11848100"/>
              <a:gd name="connsiteY21" fmla="*/ 0 h 6847721"/>
              <a:gd name="connsiteX22" fmla="*/ 7559488 w 11848100"/>
              <a:gd name="connsiteY22" fmla="*/ 0 h 6847721"/>
              <a:gd name="connsiteX23" fmla="*/ 7559488 w 11848100"/>
              <a:gd name="connsiteY23" fmla="*/ 6847721 h 6847721"/>
              <a:gd name="connsiteX24" fmla="*/ 5789284 w 11848100"/>
              <a:gd name="connsiteY24" fmla="*/ 6847721 h 6847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1848100" h="6847721">
                <a:moveTo>
                  <a:pt x="0" y="2085131"/>
                </a:moveTo>
                <a:lnTo>
                  <a:pt x="65605" y="2124432"/>
                </a:lnTo>
                <a:cubicBezTo>
                  <a:pt x="440739" y="2333927"/>
                  <a:pt x="858496" y="2470013"/>
                  <a:pt x="1246201" y="2650644"/>
                </a:cubicBezTo>
                <a:cubicBezTo>
                  <a:pt x="1710634" y="2866990"/>
                  <a:pt x="2162999" y="3093118"/>
                  <a:pt x="2551466" y="3430403"/>
                </a:cubicBezTo>
                <a:cubicBezTo>
                  <a:pt x="3115874" y="3920516"/>
                  <a:pt x="3458864" y="4501841"/>
                  <a:pt x="3514760" y="5253016"/>
                </a:cubicBezTo>
                <a:cubicBezTo>
                  <a:pt x="3521492" y="5342831"/>
                  <a:pt x="3524540" y="5433029"/>
                  <a:pt x="3524540" y="5523225"/>
                </a:cubicBezTo>
                <a:cubicBezTo>
                  <a:pt x="3524540" y="5876042"/>
                  <a:pt x="3482952" y="6226714"/>
                  <a:pt x="3373517" y="6559057"/>
                </a:cubicBezTo>
                <a:lnTo>
                  <a:pt x="3255597" y="6847721"/>
                </a:lnTo>
                <a:lnTo>
                  <a:pt x="1598282" y="6847721"/>
                </a:lnTo>
                <a:lnTo>
                  <a:pt x="1637461" y="6776019"/>
                </a:lnTo>
                <a:cubicBezTo>
                  <a:pt x="1771299" y="6512319"/>
                  <a:pt x="1867266" y="6183902"/>
                  <a:pt x="1846814" y="5877661"/>
                </a:cubicBezTo>
                <a:cubicBezTo>
                  <a:pt x="1795795" y="5118785"/>
                  <a:pt x="978369" y="4660743"/>
                  <a:pt x="180541" y="4293667"/>
                </a:cubicBezTo>
                <a:lnTo>
                  <a:pt x="0" y="4212390"/>
                </a:lnTo>
                <a:close/>
                <a:moveTo>
                  <a:pt x="10297812" y="129"/>
                </a:moveTo>
                <a:lnTo>
                  <a:pt x="11848100" y="129"/>
                </a:lnTo>
                <a:lnTo>
                  <a:pt x="11848100" y="6847721"/>
                </a:lnTo>
                <a:lnTo>
                  <a:pt x="10325436" y="6847721"/>
                </a:lnTo>
                <a:lnTo>
                  <a:pt x="10422324" y="6731900"/>
                </a:lnTo>
                <a:cubicBezTo>
                  <a:pt x="11050988" y="5943926"/>
                  <a:pt x="11516568" y="4798904"/>
                  <a:pt x="11516568" y="3442853"/>
                </a:cubicBezTo>
                <a:lnTo>
                  <a:pt x="11516568" y="3438152"/>
                </a:lnTo>
                <a:cubicBezTo>
                  <a:pt x="11516568" y="1994113"/>
                  <a:pt x="10988620" y="789287"/>
                  <a:pt x="10297812" y="129"/>
                </a:cubicBezTo>
                <a:close/>
                <a:moveTo>
                  <a:pt x="5789284" y="0"/>
                </a:moveTo>
                <a:lnTo>
                  <a:pt x="7559488" y="0"/>
                </a:lnTo>
                <a:lnTo>
                  <a:pt x="7559488" y="6847721"/>
                </a:lnTo>
                <a:lnTo>
                  <a:pt x="5789284" y="6847721"/>
                </a:lnTo>
                <a:close/>
              </a:path>
            </a:pathLst>
          </a:custGeom>
          <a:solidFill>
            <a:srgbClr val="EFF1F4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da-DK" sz="900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CFFF592A-5D48-01A8-3F5E-838FD41069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63586" y="1713053"/>
            <a:ext cx="3935649" cy="3773347"/>
          </a:xfrm>
          <a:solidFill>
            <a:schemeClr val="bg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217747AB-0152-84D3-BDA3-208107FE7A50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1"/>
            </p:custDataLst>
          </p:nvPr>
        </p:nvSpPr>
        <p:spPr>
          <a:xfrm>
            <a:off x="7430109" y="4969790"/>
            <a:ext cx="3692962" cy="436466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 cap="none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2pPr>
            <a:lvl3pPr marL="135000" indent="-135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2" name="Freeform 26">
            <a:extLst>
              <a:ext uri="{FF2B5EF4-FFF2-40B4-BE49-F238E27FC236}">
                <a16:creationId xmlns:a16="http://schemas.microsoft.com/office/drawing/2014/main" id="{284AE56D-313B-F96B-6518-F7ADEC63D7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267565" y="494"/>
            <a:ext cx="5924433" cy="3455749"/>
          </a:xfrm>
          <a:custGeom>
            <a:avLst/>
            <a:gdLst>
              <a:gd name="connsiteX0" fmla="*/ 7330874 w 11848094"/>
              <a:gd name="connsiteY0" fmla="*/ 6911371 h 6911498"/>
              <a:gd name="connsiteX1" fmla="*/ 7330954 w 11848094"/>
              <a:gd name="connsiteY1" fmla="*/ 6911371 h 6911498"/>
              <a:gd name="connsiteX2" fmla="*/ 7330826 w 11848094"/>
              <a:gd name="connsiteY2" fmla="*/ 6911498 h 6911498"/>
              <a:gd name="connsiteX3" fmla="*/ 9890670 w 11848094"/>
              <a:gd name="connsiteY3" fmla="*/ 381 h 6911498"/>
              <a:gd name="connsiteX4" fmla="*/ 11515930 w 11848094"/>
              <a:gd name="connsiteY4" fmla="*/ 381 h 6911498"/>
              <a:gd name="connsiteX5" fmla="*/ 11397534 w 11848094"/>
              <a:gd name="connsiteY5" fmla="*/ 1136735 h 6911498"/>
              <a:gd name="connsiteX6" fmla="*/ 11797112 w 11848094"/>
              <a:gd name="connsiteY6" fmla="*/ 1759148 h 6911498"/>
              <a:gd name="connsiteX7" fmla="*/ 11848094 w 11848094"/>
              <a:gd name="connsiteY7" fmla="*/ 1804299 h 6911498"/>
              <a:gd name="connsiteX8" fmla="*/ 11848094 w 11848094"/>
              <a:gd name="connsiteY8" fmla="*/ 4047105 h 6911498"/>
              <a:gd name="connsiteX9" fmla="*/ 11694538 w 11848094"/>
              <a:gd name="connsiteY9" fmla="*/ 3977684 h 6911498"/>
              <a:gd name="connsiteX10" fmla="*/ 10584904 w 11848094"/>
              <a:gd name="connsiteY10" fmla="*/ 3307052 h 6911498"/>
              <a:gd name="connsiteX11" fmla="*/ 9816862 w 11848094"/>
              <a:gd name="connsiteY11" fmla="*/ 2312726 h 6911498"/>
              <a:gd name="connsiteX12" fmla="*/ 9642828 w 11848094"/>
              <a:gd name="connsiteY12" fmla="*/ 1149440 h 6911498"/>
              <a:gd name="connsiteX13" fmla="*/ 9650958 w 11848094"/>
              <a:gd name="connsiteY13" fmla="*/ 1025323 h 6911498"/>
              <a:gd name="connsiteX14" fmla="*/ 9890670 w 11848094"/>
              <a:gd name="connsiteY14" fmla="*/ 381 h 6911498"/>
              <a:gd name="connsiteX15" fmla="*/ 3795499 w 11848094"/>
              <a:gd name="connsiteY15" fmla="*/ 0 h 6911498"/>
              <a:gd name="connsiteX16" fmla="*/ 5652466 w 11848094"/>
              <a:gd name="connsiteY16" fmla="*/ 0 h 6911498"/>
              <a:gd name="connsiteX17" fmla="*/ 7765788 w 11848094"/>
              <a:gd name="connsiteY17" fmla="*/ 5731697 h 6911498"/>
              <a:gd name="connsiteX18" fmla="*/ 7330874 w 11848094"/>
              <a:gd name="connsiteY18" fmla="*/ 6911371 h 6911498"/>
              <a:gd name="connsiteX19" fmla="*/ 6343906 w 11848094"/>
              <a:gd name="connsiteY19" fmla="*/ 6911371 h 6911498"/>
              <a:gd name="connsiteX20" fmla="*/ 0 w 11848094"/>
              <a:gd name="connsiteY20" fmla="*/ 0 h 6911498"/>
              <a:gd name="connsiteX21" fmla="*/ 670994 w 11848094"/>
              <a:gd name="connsiteY21" fmla="*/ 0 h 6911498"/>
              <a:gd name="connsiteX22" fmla="*/ 2784316 w 11848094"/>
              <a:gd name="connsiteY22" fmla="*/ 5731697 h 6911498"/>
              <a:gd name="connsiteX23" fmla="*/ 2349354 w 11848094"/>
              <a:gd name="connsiteY23" fmla="*/ 6911498 h 6911498"/>
              <a:gd name="connsiteX24" fmla="*/ 1362308 w 11848094"/>
              <a:gd name="connsiteY24" fmla="*/ 6911498 h 6911498"/>
              <a:gd name="connsiteX25" fmla="*/ 0 w 11848094"/>
              <a:gd name="connsiteY25" fmla="*/ 3216806 h 6911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1848094" h="6911498">
                <a:moveTo>
                  <a:pt x="7330874" y="6911371"/>
                </a:moveTo>
                <a:lnTo>
                  <a:pt x="7330954" y="6911371"/>
                </a:lnTo>
                <a:lnTo>
                  <a:pt x="7330826" y="6911498"/>
                </a:lnTo>
                <a:close/>
                <a:moveTo>
                  <a:pt x="9890670" y="381"/>
                </a:moveTo>
                <a:lnTo>
                  <a:pt x="11515930" y="381"/>
                </a:lnTo>
                <a:cubicBezTo>
                  <a:pt x="11380132" y="245564"/>
                  <a:pt x="11252464" y="692611"/>
                  <a:pt x="11397534" y="1136735"/>
                </a:cubicBezTo>
                <a:cubicBezTo>
                  <a:pt x="11479472" y="1387636"/>
                  <a:pt x="11618722" y="1588614"/>
                  <a:pt x="11797112" y="1759148"/>
                </a:cubicBezTo>
                <a:lnTo>
                  <a:pt x="11848094" y="1804299"/>
                </a:lnTo>
                <a:lnTo>
                  <a:pt x="11848094" y="4047105"/>
                </a:lnTo>
                <a:lnTo>
                  <a:pt x="11694538" y="3977684"/>
                </a:lnTo>
                <a:cubicBezTo>
                  <a:pt x="11302642" y="3794623"/>
                  <a:pt x="10918874" y="3584248"/>
                  <a:pt x="10584904" y="3307052"/>
                </a:cubicBezTo>
                <a:cubicBezTo>
                  <a:pt x="10239882" y="3020580"/>
                  <a:pt x="9977814" y="2733475"/>
                  <a:pt x="9816862" y="2312726"/>
                </a:cubicBezTo>
                <a:cubicBezTo>
                  <a:pt x="9675602" y="1943553"/>
                  <a:pt x="9623900" y="1543256"/>
                  <a:pt x="9642828" y="1149440"/>
                </a:cubicBezTo>
                <a:cubicBezTo>
                  <a:pt x="9644860" y="1108152"/>
                  <a:pt x="9647528" y="1066737"/>
                  <a:pt x="9650958" y="1025323"/>
                </a:cubicBezTo>
                <a:cubicBezTo>
                  <a:pt x="9680048" y="671395"/>
                  <a:pt x="9743818" y="322422"/>
                  <a:pt x="9890670" y="381"/>
                </a:cubicBezTo>
                <a:close/>
                <a:moveTo>
                  <a:pt x="3795499" y="0"/>
                </a:moveTo>
                <a:lnTo>
                  <a:pt x="5652466" y="0"/>
                </a:lnTo>
                <a:lnTo>
                  <a:pt x="7765788" y="5731697"/>
                </a:lnTo>
                <a:lnTo>
                  <a:pt x="7330874" y="6911371"/>
                </a:lnTo>
                <a:lnTo>
                  <a:pt x="6343906" y="6911371"/>
                </a:lnTo>
                <a:close/>
                <a:moveTo>
                  <a:pt x="0" y="0"/>
                </a:moveTo>
                <a:lnTo>
                  <a:pt x="670994" y="0"/>
                </a:lnTo>
                <a:lnTo>
                  <a:pt x="2784316" y="5731697"/>
                </a:lnTo>
                <a:lnTo>
                  <a:pt x="2349354" y="6911498"/>
                </a:lnTo>
                <a:lnTo>
                  <a:pt x="1362308" y="6911498"/>
                </a:lnTo>
                <a:lnTo>
                  <a:pt x="0" y="3216806"/>
                </a:lnTo>
                <a:close/>
              </a:path>
            </a:pathLst>
          </a:custGeom>
          <a:solidFill>
            <a:srgbClr val="F9423A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da-DK" sz="900"/>
          </a:p>
        </p:txBody>
      </p:sp>
      <p:sp>
        <p:nvSpPr>
          <p:cNvPr id="3" name="Freeform 28">
            <a:extLst>
              <a:ext uri="{FF2B5EF4-FFF2-40B4-BE49-F238E27FC236}">
                <a16:creationId xmlns:a16="http://schemas.microsoft.com/office/drawing/2014/main" id="{75FDD79E-5158-1071-6B1B-D6A734DBD6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267565" y="3434139"/>
            <a:ext cx="5924436" cy="3423861"/>
          </a:xfrm>
          <a:custGeom>
            <a:avLst/>
            <a:gdLst>
              <a:gd name="connsiteX0" fmla="*/ 0 w 11848100"/>
              <a:gd name="connsiteY0" fmla="*/ 2085131 h 6847721"/>
              <a:gd name="connsiteX1" fmla="*/ 65605 w 11848100"/>
              <a:gd name="connsiteY1" fmla="*/ 2124432 h 6847721"/>
              <a:gd name="connsiteX2" fmla="*/ 1246201 w 11848100"/>
              <a:gd name="connsiteY2" fmla="*/ 2650644 h 6847721"/>
              <a:gd name="connsiteX3" fmla="*/ 2551466 w 11848100"/>
              <a:gd name="connsiteY3" fmla="*/ 3430403 h 6847721"/>
              <a:gd name="connsiteX4" fmla="*/ 3514760 w 11848100"/>
              <a:gd name="connsiteY4" fmla="*/ 5253016 h 6847721"/>
              <a:gd name="connsiteX5" fmla="*/ 3524540 w 11848100"/>
              <a:gd name="connsiteY5" fmla="*/ 5523225 h 6847721"/>
              <a:gd name="connsiteX6" fmla="*/ 3373517 w 11848100"/>
              <a:gd name="connsiteY6" fmla="*/ 6559057 h 6847721"/>
              <a:gd name="connsiteX7" fmla="*/ 3255597 w 11848100"/>
              <a:gd name="connsiteY7" fmla="*/ 6847721 h 6847721"/>
              <a:gd name="connsiteX8" fmla="*/ 1598282 w 11848100"/>
              <a:gd name="connsiteY8" fmla="*/ 6847721 h 6847721"/>
              <a:gd name="connsiteX9" fmla="*/ 1637461 w 11848100"/>
              <a:gd name="connsiteY9" fmla="*/ 6776019 h 6847721"/>
              <a:gd name="connsiteX10" fmla="*/ 1846814 w 11848100"/>
              <a:gd name="connsiteY10" fmla="*/ 5877661 h 6847721"/>
              <a:gd name="connsiteX11" fmla="*/ 180541 w 11848100"/>
              <a:gd name="connsiteY11" fmla="*/ 4293667 h 6847721"/>
              <a:gd name="connsiteX12" fmla="*/ 0 w 11848100"/>
              <a:gd name="connsiteY12" fmla="*/ 4212390 h 6847721"/>
              <a:gd name="connsiteX13" fmla="*/ 10297812 w 11848100"/>
              <a:gd name="connsiteY13" fmla="*/ 129 h 6847721"/>
              <a:gd name="connsiteX14" fmla="*/ 11848100 w 11848100"/>
              <a:gd name="connsiteY14" fmla="*/ 129 h 6847721"/>
              <a:gd name="connsiteX15" fmla="*/ 11848100 w 11848100"/>
              <a:gd name="connsiteY15" fmla="*/ 6847721 h 6847721"/>
              <a:gd name="connsiteX16" fmla="*/ 10325436 w 11848100"/>
              <a:gd name="connsiteY16" fmla="*/ 6847721 h 6847721"/>
              <a:gd name="connsiteX17" fmla="*/ 10422324 w 11848100"/>
              <a:gd name="connsiteY17" fmla="*/ 6731900 h 6847721"/>
              <a:gd name="connsiteX18" fmla="*/ 11516568 w 11848100"/>
              <a:gd name="connsiteY18" fmla="*/ 3442853 h 6847721"/>
              <a:gd name="connsiteX19" fmla="*/ 11516568 w 11848100"/>
              <a:gd name="connsiteY19" fmla="*/ 3438152 h 6847721"/>
              <a:gd name="connsiteX20" fmla="*/ 10297812 w 11848100"/>
              <a:gd name="connsiteY20" fmla="*/ 129 h 6847721"/>
              <a:gd name="connsiteX21" fmla="*/ 5789284 w 11848100"/>
              <a:gd name="connsiteY21" fmla="*/ 0 h 6847721"/>
              <a:gd name="connsiteX22" fmla="*/ 7559488 w 11848100"/>
              <a:gd name="connsiteY22" fmla="*/ 0 h 6847721"/>
              <a:gd name="connsiteX23" fmla="*/ 7559488 w 11848100"/>
              <a:gd name="connsiteY23" fmla="*/ 6847721 h 6847721"/>
              <a:gd name="connsiteX24" fmla="*/ 5789284 w 11848100"/>
              <a:gd name="connsiteY24" fmla="*/ 6847721 h 6847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1848100" h="6847721">
                <a:moveTo>
                  <a:pt x="0" y="2085131"/>
                </a:moveTo>
                <a:lnTo>
                  <a:pt x="65605" y="2124432"/>
                </a:lnTo>
                <a:cubicBezTo>
                  <a:pt x="440739" y="2333927"/>
                  <a:pt x="858496" y="2470013"/>
                  <a:pt x="1246201" y="2650644"/>
                </a:cubicBezTo>
                <a:cubicBezTo>
                  <a:pt x="1710634" y="2866990"/>
                  <a:pt x="2162999" y="3093118"/>
                  <a:pt x="2551466" y="3430403"/>
                </a:cubicBezTo>
                <a:cubicBezTo>
                  <a:pt x="3115874" y="3920516"/>
                  <a:pt x="3458864" y="4501841"/>
                  <a:pt x="3514760" y="5253016"/>
                </a:cubicBezTo>
                <a:cubicBezTo>
                  <a:pt x="3521492" y="5342831"/>
                  <a:pt x="3524540" y="5433029"/>
                  <a:pt x="3524540" y="5523225"/>
                </a:cubicBezTo>
                <a:cubicBezTo>
                  <a:pt x="3524540" y="5876042"/>
                  <a:pt x="3482952" y="6226714"/>
                  <a:pt x="3373517" y="6559057"/>
                </a:cubicBezTo>
                <a:lnTo>
                  <a:pt x="3255597" y="6847721"/>
                </a:lnTo>
                <a:lnTo>
                  <a:pt x="1598282" y="6847721"/>
                </a:lnTo>
                <a:lnTo>
                  <a:pt x="1637461" y="6776019"/>
                </a:lnTo>
                <a:cubicBezTo>
                  <a:pt x="1771299" y="6512319"/>
                  <a:pt x="1867266" y="6183902"/>
                  <a:pt x="1846814" y="5877661"/>
                </a:cubicBezTo>
                <a:cubicBezTo>
                  <a:pt x="1795795" y="5118785"/>
                  <a:pt x="978369" y="4660743"/>
                  <a:pt x="180541" y="4293667"/>
                </a:cubicBezTo>
                <a:lnTo>
                  <a:pt x="0" y="4212390"/>
                </a:lnTo>
                <a:close/>
                <a:moveTo>
                  <a:pt x="10297812" y="129"/>
                </a:moveTo>
                <a:lnTo>
                  <a:pt x="11848100" y="129"/>
                </a:lnTo>
                <a:lnTo>
                  <a:pt x="11848100" y="6847721"/>
                </a:lnTo>
                <a:lnTo>
                  <a:pt x="10325436" y="6847721"/>
                </a:lnTo>
                <a:lnTo>
                  <a:pt x="10422324" y="6731900"/>
                </a:lnTo>
                <a:cubicBezTo>
                  <a:pt x="11050988" y="5943926"/>
                  <a:pt x="11516568" y="4798904"/>
                  <a:pt x="11516568" y="3442853"/>
                </a:cubicBezTo>
                <a:lnTo>
                  <a:pt x="11516568" y="3438152"/>
                </a:lnTo>
                <a:cubicBezTo>
                  <a:pt x="11516568" y="1994113"/>
                  <a:pt x="10988620" y="789287"/>
                  <a:pt x="10297812" y="129"/>
                </a:cubicBezTo>
                <a:close/>
                <a:moveTo>
                  <a:pt x="5789284" y="0"/>
                </a:moveTo>
                <a:lnTo>
                  <a:pt x="7559488" y="0"/>
                </a:lnTo>
                <a:lnTo>
                  <a:pt x="7559488" y="6847721"/>
                </a:lnTo>
                <a:lnTo>
                  <a:pt x="5789284" y="6847721"/>
                </a:lnTo>
                <a:close/>
              </a:path>
            </a:pathLst>
          </a:custGeom>
          <a:solidFill>
            <a:srgbClr val="EFF1F4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da-DK" sz="900"/>
          </a:p>
        </p:txBody>
      </p:sp>
    </p:spTree>
    <p:extLst>
      <p:ext uri="{BB962C8B-B14F-4D97-AF65-F5344CB8AC3E}">
        <p14:creationId xmlns:p14="http://schemas.microsoft.com/office/powerpoint/2010/main" val="1263500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2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3F7784C-DEBA-3468-B59B-5DAD73E6AE8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030288"/>
            <a:ext cx="3947576" cy="445293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4A56565E-D28B-6BA5-8D1F-DD8A4381EE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0153" y="5622925"/>
            <a:ext cx="2966609" cy="68421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 cap="none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2pPr>
            <a:lvl3pPr marL="135000" indent="-135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D5C224D8-52CC-92CA-83E8-7FD1E0C473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294187" y="1030288"/>
            <a:ext cx="3602563" cy="445293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C23AFCB-BF0A-06E9-AD94-1AB0286FF4B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95777" y="5622925"/>
            <a:ext cx="2966609" cy="68421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 cap="none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2pPr>
            <a:lvl3pPr marL="135000" indent="-135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15" name="Picture Placeholder 11">
            <a:extLst>
              <a:ext uri="{FF2B5EF4-FFF2-40B4-BE49-F238E27FC236}">
                <a16:creationId xmlns:a16="http://schemas.microsoft.com/office/drawing/2014/main" id="{62FA86A3-D1F8-CE2E-F4A5-36C59719229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242300" y="1030288"/>
            <a:ext cx="3949699" cy="445293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29E8C645-5B5A-8FDD-A499-22A85E9BCE9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43353" y="5622925"/>
            <a:ext cx="2966609" cy="68421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 cap="none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2pPr>
            <a:lvl3pPr marL="135000" indent="-135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5" name="Footer Placehold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WSP | Footer goes here | Date</a:t>
            </a:r>
          </a:p>
        </p:txBody>
      </p:sp>
      <p:sp>
        <p:nvSpPr>
          <p:cNvPr id="6" name="Slide Number Placeholder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732151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C, Agenda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1C0DE16D-DC52-A715-4CD1-35A654E069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1270000"/>
            <a:ext cx="11506199" cy="972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36428CDC-BECF-1700-FBD9-E47AAF6194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4488" y="2972491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00</a:t>
            </a:r>
          </a:p>
          <a:p>
            <a:pPr lvl="1"/>
            <a:endParaRPr lang="da-DK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958EC97-F459-CB1F-30D6-AFA60418F2C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29004" y="3072369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F1649CBD-5A8E-F75F-2515-D628FF754B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4488" y="39908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00</a:t>
            </a:r>
          </a:p>
          <a:p>
            <a:pPr lvl="1"/>
            <a:endParaRPr lang="da-DK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05838D1A-0376-649E-6951-71776BD9A36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29004" y="40906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BE9694B7-988C-8322-B792-C88E246967F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4488" y="50195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00</a:t>
            </a:r>
          </a:p>
          <a:p>
            <a:pPr lvl="1"/>
            <a:endParaRPr lang="da-DK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8106EED9-7707-B2B5-9D90-35A6C3CB808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29004" y="51193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1DF0891E-4679-7763-96EE-40F0733C211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98486" y="2972491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00</a:t>
            </a:r>
          </a:p>
          <a:p>
            <a:pPr lvl="1"/>
            <a:endParaRPr lang="da-DK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2468DD1D-CC96-EA9D-8593-A5CCB79BCE2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83002" y="3072369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9F1BBE91-B500-C88A-030A-07C10F026C1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98486" y="39908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00</a:t>
            </a:r>
          </a:p>
          <a:p>
            <a:pPr lvl="1"/>
            <a:endParaRPr lang="da-DK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08728887-AEF3-A659-B80D-509BBB6E925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283002" y="40906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20B3DBA4-D1ED-3882-64B5-7E5E4B74ECB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98486" y="50195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00</a:t>
            </a:r>
          </a:p>
          <a:p>
            <a:pPr lvl="1"/>
            <a:endParaRPr lang="da-DK"/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48CAF2DE-513E-2089-A70D-C29B34BB548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283002" y="51193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0818C9C3-7E55-04E0-B509-8FBD49EB9CC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43936" y="2972491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00</a:t>
            </a:r>
          </a:p>
          <a:p>
            <a:pPr lvl="1"/>
            <a:endParaRPr lang="da-DK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FC3638C-643D-E0EA-EA80-B429D1F7838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228452" y="3072369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984B1A0-2F2B-0F3A-447C-C7E6929C4B3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243936" y="39908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00</a:t>
            </a:r>
          </a:p>
          <a:p>
            <a:pPr lvl="1"/>
            <a:endParaRPr lang="da-DK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A31BA69D-AF3C-F86E-D8D8-9AF9DBAA711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228452" y="40906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61FDAF4-FD67-5B1E-FDBB-369372944F5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243936" y="50195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00</a:t>
            </a:r>
          </a:p>
          <a:p>
            <a:pPr lvl="1"/>
            <a:endParaRPr lang="da-DK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F02B847-83B2-C664-EE0A-AF493946A87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228452" y="51193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2" name="Guides">
            <a:extLst>
              <a:ext uri="{FF2B5EF4-FFF2-40B4-BE49-F238E27FC236}">
                <a16:creationId xmlns:a16="http://schemas.microsoft.com/office/drawing/2014/main" id="{C587CF81-528D-2F99-C085-E98AE20C80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700">
              <a:solidFill>
                <a:srgbClr val="FFFFFF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564017-289F-ED30-7D75-9F9520F541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da-DK"/>
              <a:t>WSP | Footer goes here | Dat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6DB41925-2FD8-BD23-1C7F-66FD22FA89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4" name="Guides">
            <a:extLst>
              <a:ext uri="{FF2B5EF4-FFF2-40B4-BE49-F238E27FC236}">
                <a16:creationId xmlns:a16="http://schemas.microsoft.com/office/drawing/2014/main" id="{464BE03C-3E4A-DD40-5848-0A2EF50462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77282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D4CBC2F-A414-4B5F-54E9-D2466314BE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095604" y="0"/>
            <a:ext cx="609639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97A9546-EE36-A217-2C28-76FB5FA4DD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5604" y="0"/>
            <a:ext cx="609639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30313EC-A53D-7D44-D5C1-2DBD631FA1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1373188"/>
            <a:ext cx="5568949" cy="972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FD66723-746C-D68A-DC72-FE661B12196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42900" y="2400299"/>
            <a:ext cx="5581650" cy="3768725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" name="Content Placeholder 9">
            <a:extLst>
              <a:ext uri="{FF2B5EF4-FFF2-40B4-BE49-F238E27FC236}">
                <a16:creationId xmlns:a16="http://schemas.microsoft.com/office/drawing/2014/main" id="{3C7740FC-52BA-B14F-A10F-3514CCF5128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61100" y="2400300"/>
            <a:ext cx="5581650" cy="37687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8EAB78-8D9C-0E2E-827A-42CC0FBB23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3E29C8-0B12-5C41-BF4B-DCC4A875C6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3689276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0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c 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A160CEFA-1224-0A33-3297-149A3EF4ED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alphaModFix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49879" y="0"/>
            <a:ext cx="10042121" cy="68580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8EAB78-8D9C-0E2E-827A-42CC0FBB23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15EFCED-F030-8D48-F94E-5D083B5148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1714500"/>
            <a:ext cx="6567488" cy="972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FD66723-746C-D68A-DC72-FE661B12196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42900" y="2743200"/>
            <a:ext cx="6567488" cy="3425825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3E29C8-0B12-5C41-BF4B-DCC4A875C6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WSP | Footer goes here | Dat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3DBE6E9-89CB-FE8C-9CE4-A0F5DC349B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 userDrawn="1"/>
        </p:nvPicPr>
        <p:blipFill>
          <a:blip r:embed="rId2">
            <a:alphaModFix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49879" y="0"/>
            <a:ext cx="1004212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5440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d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B6E1C04-2CBA-63B2-9544-5DF9DD17D6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401" y="343694"/>
            <a:ext cx="1004465" cy="47666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8EAB78-8D9C-0E2E-827A-42CC0FBB23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D568E7-61F5-D04E-995D-81EF41C01A2A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42D600C-D2E5-8336-F058-DF5E43A81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FD66723-746C-D68A-DC72-FE661B12196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42900" y="2400299"/>
            <a:ext cx="5581650" cy="37687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" name="Content Placeholder 9">
            <a:extLst>
              <a:ext uri="{FF2B5EF4-FFF2-40B4-BE49-F238E27FC236}">
                <a16:creationId xmlns:a16="http://schemas.microsoft.com/office/drawing/2014/main" id="{3C7740FC-52BA-B14F-A10F-3514CCF5128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61100" y="2400299"/>
            <a:ext cx="5581650" cy="37687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3E29C8-0B12-5C41-BF4B-DCC4A875C6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WSP | Footer goes here | Dat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45527E6-00CA-D85C-AC9D-ED267B41A6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401" y="343694"/>
            <a:ext cx="1004465" cy="476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8374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 Picture Placeholder 9">
            <a:extLst>
              <a:ext uri="{FF2B5EF4-FFF2-40B4-BE49-F238E27FC236}">
                <a16:creationId xmlns:a16="http://schemas.microsoft.com/office/drawing/2014/main" id="{32CED102-391F-C18F-B866-F380586C1E5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973183" y="652464"/>
            <a:ext cx="8245635" cy="5551486"/>
          </a:xfrm>
          <a:noFill/>
        </p:spPr>
        <p:txBody>
          <a:bodyPr bIns="1296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51A3D0-DF1C-BE39-1971-7A7206758D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535" y="2899861"/>
            <a:ext cx="11986930" cy="1493230"/>
          </a:xfrm>
        </p:spPr>
        <p:txBody>
          <a:bodyPr anchor="ctr">
            <a:normAutofit/>
          </a:bodyPr>
          <a:lstStyle>
            <a:lvl1pPr algn="ctr">
              <a:lnSpc>
                <a:spcPct val="75000"/>
              </a:lnSpc>
              <a:defRPr sz="9500" cap="all" spc="-200" baseline="0">
                <a:solidFill>
                  <a:schemeClr val="tx1"/>
                </a:solidFill>
              </a:defRPr>
            </a:lvl1pPr>
          </a:lstStyle>
          <a:p>
            <a:r>
              <a:rPr lang="da-DK"/>
              <a:t>Click titl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AE23171-B989-D4A0-B1B5-18D127AC93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8C353BD-CC69-6632-B411-4FC1E14BBB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a-DK"/>
              <a:t>WSP | Footer goes here | Date</a:t>
            </a:r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35D256D3-13B9-7B74-9370-9E7942B02D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4401" y="343694"/>
            <a:ext cx="1005966" cy="472262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a-DK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5976456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and facts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E7CF9518-F533-485C-96A6-A4571873B0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3200" y="6339600"/>
            <a:ext cx="1080000" cy="34105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A19D799-5907-4EC7-82C1-D93D0769DDD1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9ED8FF1-9D26-42A9-8073-D4A294C8CEAE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and </a:t>
            </a:r>
            <a:r>
              <a:rPr lang="da-DK" err="1"/>
              <a:t>insert</a:t>
            </a:r>
            <a:r>
              <a:rPr lang="da-DK"/>
              <a:t> image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31BAF997-FD75-4017-B769-FDDDCB9192F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4800" y="75469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11C61C4F-80D2-44D9-AC16-5BDCC4AC25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4800" y="116011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9C1B046-D6B5-4371-A674-A47AB750D9B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4800" y="202596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D9B19447-67A9-477A-9926-6404F0B27B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4800" y="243138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BDF280D-5740-4598-9F88-5A973A1F19D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4800" y="328058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C1CF04E5-1C6D-46BE-8D2D-3374C592F1A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4800" y="368600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EF5E4F9-47C1-4917-A884-EB33552E061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4800" y="457965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CC9EE376-9E88-4E73-8A59-CB3065906C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4800" y="498507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B1BFABB9-4CC8-41F9-AAD1-42B132A2A45B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da-DK" sz="800" smtClean="0">
                <a:solidFill>
                  <a:schemeClr val="bg1"/>
                </a:solidFill>
              </a:rPr>
              <a:pPr/>
              <a:t>‹#›</a:t>
            </a:fld>
            <a:endParaRPr lang="da-DK" sz="800">
              <a:solidFill>
                <a:schemeClr val="bg1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910754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3" pos="3839" userDrawn="1">
          <p15:clr>
            <a:srgbClr val="A4A3A4"/>
          </p15:clr>
        </p15:guide>
        <p15:guide id="4" pos="3653" userDrawn="1">
          <p15:clr>
            <a:srgbClr val="A4A3A4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51A3D0-DF1C-BE39-1971-7A7206758D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4488" y="1577975"/>
            <a:ext cx="5578476" cy="4008438"/>
          </a:xfrm>
        </p:spPr>
        <p:txBody>
          <a:bodyPr anchor="ctr">
            <a:normAutofit/>
          </a:bodyPr>
          <a:lstStyle>
            <a:lvl1pPr algn="l">
              <a:lnSpc>
                <a:spcPct val="75000"/>
              </a:lnSpc>
              <a:defRPr sz="9600" cap="all" spc="-200" baseline="0">
                <a:solidFill>
                  <a:schemeClr val="tx1"/>
                </a:solidFill>
              </a:defRPr>
            </a:lvl1pPr>
          </a:lstStyle>
          <a:p>
            <a:r>
              <a:rPr lang="da-DK"/>
              <a:t>Click title</a:t>
            </a:r>
          </a:p>
        </p:txBody>
      </p:sp>
      <p:sp>
        <p:nvSpPr>
          <p:cNvPr id="3" name="Background Picture Placeholder 9">
            <a:extLst>
              <a:ext uri="{FF2B5EF4-FFF2-40B4-BE49-F238E27FC236}">
                <a16:creationId xmlns:a16="http://schemas.microsoft.com/office/drawing/2014/main" id="{32CED102-391F-C18F-B866-F380586C1E5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0" cy="6858000"/>
          </a:xfrm>
          <a:noFill/>
        </p:spPr>
        <p:txBody>
          <a:bodyPr bIns="1296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på ikonet for at tilføje et billed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AE23171-B989-D4A0-B1B5-18D127AC93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1D568E7-61F5-D04E-995D-81EF41C01A2A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8C353BD-CC69-6632-B411-4FC1E14BBB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a-DK"/>
              <a:t>WSP | Footer goes here | Date</a:t>
            </a:r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50C20D14-B3C8-F8DE-86B3-3769E6092B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4401" y="343694"/>
            <a:ext cx="1005966" cy="472262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a-DK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8705170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7E3915-0EE5-8C81-88A4-D0829B1E70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3A305AF-4050-FAF2-6E2A-C2B3530DE0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9AAD1D04-1EA6-A263-8E06-C023B081BD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F567C-AE93-4502-ADD2-45A7DF4535D1}" type="datetimeFigureOut">
              <a:rPr lang="da-DK" smtClean="0"/>
              <a:t>25-02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020EB01A-8C36-FDA3-B25A-41BDEDE663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75476952-A109-E440-9251-1DA4C4AD71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CF0EDA-0B23-41F9-9153-E9F73B7EE006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965893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one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23D70F-C0EE-4776-AA20-24BC8D2345C7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FDB978-3191-443B-88E5-D71E677F57EF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da-DK" err="1"/>
              <a:t>Click</a:t>
            </a:r>
            <a:r>
              <a:rPr lang="da-DK"/>
              <a:t> and </a:t>
            </a:r>
            <a:r>
              <a:rPr lang="da-DK" err="1"/>
              <a:t>insert</a:t>
            </a:r>
            <a:r>
              <a:rPr lang="da-DK"/>
              <a:t> imag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6CCEC0C-F71A-45E4-9C98-E2F789A96F7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4800" y="1829426"/>
            <a:ext cx="5367221" cy="67584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32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headline</a:t>
            </a:r>
            <a:endParaRPr lang="da-DK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617F579-E538-4349-9075-EA9ED3F074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4800" y="2570696"/>
            <a:ext cx="5367221" cy="48194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lang="da-DK" sz="1800" smtClean="0">
                <a:solidFill>
                  <a:schemeClr val="accent5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96EC195-29C5-4E6F-855E-1DA168F45016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D9FAB6A-CFE4-4439-A6A6-2F7CCD566AE7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da-DK" sz="800" smtClean="0">
                <a:solidFill>
                  <a:schemeClr val="accent4"/>
                </a:solidFill>
              </a:rPr>
              <a:pPr/>
              <a:t>‹#›</a:t>
            </a:fld>
            <a:endParaRPr lang="da-DK" sz="800">
              <a:solidFill>
                <a:schemeClr val="accent4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CE4912E4-D0EA-5549-4B17-57BAF390AC2A}"/>
              </a:ext>
            </a:extLst>
          </p:cNvPr>
          <p:cNvSpPr txBox="1">
            <a:spLocks/>
          </p:cNvSpPr>
          <p:nvPr userDrawn="1"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440540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3" pos="3653" userDrawn="1">
          <p15:clr>
            <a:srgbClr val="A4A3A4"/>
          </p15:clr>
        </p15:guide>
        <p15:guide id="4" pos="3839" userDrawn="1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9" Type="http://schemas.openxmlformats.org/officeDocument/2006/relationships/slideLayout" Target="../slideLayouts/slideLayout77.xml"/><Relationship Id="rId21" Type="http://schemas.openxmlformats.org/officeDocument/2006/relationships/slideLayout" Target="../slideLayouts/slideLayout59.xml"/><Relationship Id="rId34" Type="http://schemas.openxmlformats.org/officeDocument/2006/relationships/slideLayout" Target="../slideLayouts/slideLayout72.xml"/><Relationship Id="rId42" Type="http://schemas.openxmlformats.org/officeDocument/2006/relationships/slideLayout" Target="../slideLayouts/slideLayout80.xml"/><Relationship Id="rId47" Type="http://schemas.openxmlformats.org/officeDocument/2006/relationships/tags" Target="../tags/tag6.xml"/><Relationship Id="rId50" Type="http://schemas.openxmlformats.org/officeDocument/2006/relationships/image" Target="../media/image25.png"/><Relationship Id="rId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9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slideLayout" Target="../slideLayouts/slideLayout70.xml"/><Relationship Id="rId37" Type="http://schemas.openxmlformats.org/officeDocument/2006/relationships/slideLayout" Target="../slideLayouts/slideLayout75.xml"/><Relationship Id="rId40" Type="http://schemas.openxmlformats.org/officeDocument/2006/relationships/slideLayout" Target="../slideLayouts/slideLayout78.xml"/><Relationship Id="rId45" Type="http://schemas.openxmlformats.org/officeDocument/2006/relationships/tags" Target="../tags/tag4.xml"/><Relationship Id="rId53" Type="http://schemas.openxmlformats.org/officeDocument/2006/relationships/image" Target="../media/image28.svg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69.xml"/><Relationship Id="rId44" Type="http://schemas.openxmlformats.org/officeDocument/2006/relationships/theme" Target="../theme/theme2.xml"/><Relationship Id="rId52" Type="http://schemas.openxmlformats.org/officeDocument/2006/relationships/image" Target="../media/image27.png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slideLayout" Target="../slideLayouts/slideLayout68.xml"/><Relationship Id="rId35" Type="http://schemas.openxmlformats.org/officeDocument/2006/relationships/slideLayout" Target="../slideLayouts/slideLayout73.xml"/><Relationship Id="rId43" Type="http://schemas.openxmlformats.org/officeDocument/2006/relationships/slideLayout" Target="../slideLayouts/slideLayout81.xml"/><Relationship Id="rId48" Type="http://schemas.openxmlformats.org/officeDocument/2006/relationships/tags" Target="../tags/tag7.xml"/><Relationship Id="rId8" Type="http://schemas.openxmlformats.org/officeDocument/2006/relationships/slideLayout" Target="../slideLayouts/slideLayout46.xml"/><Relationship Id="rId51" Type="http://schemas.openxmlformats.org/officeDocument/2006/relationships/image" Target="../media/image26.svg"/><Relationship Id="rId3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33" Type="http://schemas.openxmlformats.org/officeDocument/2006/relationships/slideLayout" Target="../slideLayouts/slideLayout71.xml"/><Relationship Id="rId38" Type="http://schemas.openxmlformats.org/officeDocument/2006/relationships/slideLayout" Target="../slideLayouts/slideLayout76.xml"/><Relationship Id="rId46" Type="http://schemas.openxmlformats.org/officeDocument/2006/relationships/tags" Target="../tags/tag5.xml"/><Relationship Id="rId20" Type="http://schemas.openxmlformats.org/officeDocument/2006/relationships/slideLayout" Target="../slideLayouts/slideLayout58.xml"/><Relationship Id="rId41" Type="http://schemas.openxmlformats.org/officeDocument/2006/relationships/slideLayout" Target="../slideLayouts/slideLayout79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36" Type="http://schemas.openxmlformats.org/officeDocument/2006/relationships/slideLayout" Target="../slideLayouts/slideLayout74.xml"/><Relationship Id="rId49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50136D4-BD49-BF4E-CA52-F9B59AA3BB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125111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530" imgH="530" progId="TCLayout.ActiveDocument.1">
                  <p:embed/>
                </p:oleObj>
              </mc:Choice>
              <mc:Fallback>
                <p:oleObj name="think-cell Slide" r:id="rId41" imgW="530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0136D4-BD49-BF4E-CA52-F9B59AA3BB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9C2A3EC6-870A-493B-88F3-272F24566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468000"/>
            <a:ext cx="11473200" cy="472141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</a:t>
            </a:r>
            <a:r>
              <a:rPr lang="da-DK" err="1"/>
              <a:t>headline</a:t>
            </a:r>
            <a:endParaRPr lang="da-DK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1FA59B7-C940-4163-9565-C30FF23A12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8B34B12-4528-4532-A8B2-B4BE1137B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9400" y="1293707"/>
            <a:ext cx="11472238" cy="48657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93308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5" r:id="rId1"/>
    <p:sldLayoutId id="2147484566" r:id="rId2"/>
    <p:sldLayoutId id="2147484567" r:id="rId3"/>
    <p:sldLayoutId id="2147484568" r:id="rId4"/>
    <p:sldLayoutId id="2147484569" r:id="rId5"/>
    <p:sldLayoutId id="2147484570" r:id="rId6"/>
    <p:sldLayoutId id="2147484571" r:id="rId7"/>
    <p:sldLayoutId id="2147484572" r:id="rId8"/>
    <p:sldLayoutId id="2147484573" r:id="rId9"/>
    <p:sldLayoutId id="2147484574" r:id="rId10"/>
    <p:sldLayoutId id="2147484575" r:id="rId11"/>
    <p:sldLayoutId id="2147484576" r:id="rId12"/>
    <p:sldLayoutId id="2147484577" r:id="rId13"/>
    <p:sldLayoutId id="2147484578" r:id="rId14"/>
    <p:sldLayoutId id="2147484579" r:id="rId15"/>
    <p:sldLayoutId id="2147484580" r:id="rId16"/>
    <p:sldLayoutId id="2147484581" r:id="rId17"/>
    <p:sldLayoutId id="2147484582" r:id="rId18"/>
    <p:sldLayoutId id="2147484583" r:id="rId19"/>
    <p:sldLayoutId id="2147484584" r:id="rId20"/>
    <p:sldLayoutId id="2147484585" r:id="rId21"/>
    <p:sldLayoutId id="2147484586" r:id="rId22"/>
    <p:sldLayoutId id="2147484587" r:id="rId23"/>
    <p:sldLayoutId id="2147484588" r:id="rId24"/>
    <p:sldLayoutId id="2147484589" r:id="rId25"/>
    <p:sldLayoutId id="2147484590" r:id="rId26"/>
    <p:sldLayoutId id="2147484591" r:id="rId27"/>
    <p:sldLayoutId id="2147484592" r:id="rId28"/>
    <p:sldLayoutId id="2147484593" r:id="rId29"/>
    <p:sldLayoutId id="2147484594" r:id="rId30"/>
    <p:sldLayoutId id="2147484595" r:id="rId31"/>
    <p:sldLayoutId id="2147484596" r:id="rId32"/>
    <p:sldLayoutId id="2147484597" r:id="rId33"/>
    <p:sldLayoutId id="2147484598" r:id="rId34"/>
    <p:sldLayoutId id="2147484599" r:id="rId35"/>
    <p:sldLayoutId id="2147484600" r:id="rId36"/>
    <p:sldLayoutId id="2147484601" r:id="rId37"/>
    <p:sldLayoutId id="2147484647" r:id="rId3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tx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6880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5320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Segoe UI Black" panose="020B0A02040204020203" pitchFamily="34" charset="0"/>
          <a:ea typeface="Segoe UI Black" panose="020B0A02040204020203" pitchFamily="34" charset="0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226" userDrawn="1">
          <p15:clr>
            <a:srgbClr val="A4A3A4"/>
          </p15:clr>
        </p15:guide>
        <p15:guide id="7" pos="7453" userDrawn="1">
          <p15:clr>
            <a:srgbClr val="A4A3A4"/>
          </p15:clr>
        </p15:guide>
        <p15:guide id="8" orient="horz" pos="226" userDrawn="1">
          <p15:clr>
            <a:srgbClr val="A4A3A4"/>
          </p15:clr>
        </p15:guide>
        <p15:guide id="9" orient="horz" pos="3880" userDrawn="1">
          <p15:clr>
            <a:srgbClr val="A4A3A4"/>
          </p15:clr>
        </p15:guide>
        <p15:guide id="10" pos="276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45"/>
            </p:custDataLst>
          </p:nvPr>
        </p:nvSpPr>
        <p:spPr>
          <a:xfrm>
            <a:off x="342900" y="1373188"/>
            <a:ext cx="11506199" cy="97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a-DK"/>
              <a:t>Click to edit </a:t>
            </a:r>
            <a:br>
              <a:rPr lang="da-DK"/>
            </a:br>
            <a:r>
              <a:rPr lang="da-DK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899" y="2409969"/>
            <a:ext cx="11503025" cy="375905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13B27F34-009B-3805-6523-280C718CBD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344401" y="343694"/>
            <a:ext cx="1004465" cy="476665"/>
          </a:xfrm>
          <a:prstGeom prst="rect">
            <a:avLst/>
          </a:prstGeom>
        </p:spPr>
      </p:pic>
      <p:sp>
        <p:nvSpPr>
          <p:cNvPr id="5" name="Footer Placehold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6"/>
            </p:custDataLst>
          </p:nvPr>
        </p:nvSpPr>
        <p:spPr>
          <a:xfrm>
            <a:off x="342900" y="6407378"/>
            <a:ext cx="5732298" cy="1077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da-DK"/>
              <a:t>WSP | Footer goes here | Date</a:t>
            </a:r>
          </a:p>
        </p:txBody>
      </p:sp>
      <p:sp>
        <p:nvSpPr>
          <p:cNvPr id="7" name="Guides">
            <a:extLst>
              <a:ext uri="{FF2B5EF4-FFF2-40B4-BE49-F238E27FC236}">
                <a16:creationId xmlns:a16="http://schemas.microsoft.com/office/drawing/2014/main" id="{0351398B-E694-40B0-EEF0-24B40643B2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47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70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5327" y="6407378"/>
            <a:ext cx="643773" cy="1077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fld id="{91D568E7-61F5-D04E-995D-81EF41C01A2A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7456B72-9832-F4E9-89DC-E295D1896E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2">
            <a:extLs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344401" y="343694"/>
            <a:ext cx="1004465" cy="476665"/>
          </a:xfrm>
          <a:prstGeom prst="rect">
            <a:avLst/>
          </a:prstGeom>
        </p:spPr>
      </p:pic>
      <p:sp>
        <p:nvSpPr>
          <p:cNvPr id="9" name="Guides">
            <a:extLst>
              <a:ext uri="{FF2B5EF4-FFF2-40B4-BE49-F238E27FC236}">
                <a16:creationId xmlns:a16="http://schemas.microsoft.com/office/drawing/2014/main" id="{91AC4D8F-CEED-09F5-54CC-E86A0C6A85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700">
              <a:solidFill>
                <a:srgbClr val="FFFFFF"/>
              </a:solidFill>
            </a:endParaRPr>
          </a:p>
        </p:txBody>
      </p:sp>
      <p:sp>
        <p:nvSpPr>
          <p:cNvPr id="10" name="StyleSample01.jpg" descr="Bullet button" hidden="1">
            <a:extLst>
              <a:ext uri="{FF2B5EF4-FFF2-40B4-BE49-F238E27FC236}">
                <a16:creationId xmlns:a16="http://schemas.microsoft.com/office/drawing/2014/main" id="{57156FD9-27CF-3C3F-4B92-6D1548893099}"/>
              </a:ext>
            </a:extLst>
          </p:cNvPr>
          <p:cNvSpPr>
            <a:spLocks noGrp="1"/>
          </p:cNvSpPr>
          <p:nvPr userDrawn="1">
            <p:custDataLst>
              <p:tags r:id="rId49"/>
            </p:custDataLst>
          </p:nvPr>
        </p:nvSpPr>
        <p:spPr>
          <a:xfrm>
            <a:off x="4293393" y="6858000"/>
            <a:ext cx="3605213" cy="122279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18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1600" b="1">
                <a:solidFill>
                  <a:schemeClr val="accent1"/>
                </a:solidFill>
              </a:rPr>
              <a:t>Impact headlines</a:t>
            </a:r>
          </a:p>
          <a:p>
            <a:r>
              <a:rPr lang="da-DK"/>
              <a:t>For any slides that have ‘impact headlines’ in a  repeating pattern, make sure to set the ‘alt text’ to decorative. This ensures best practice for accessibility. </a:t>
            </a:r>
          </a:p>
        </p:txBody>
      </p:sp>
    </p:spTree>
    <p:extLst>
      <p:ext uri="{BB962C8B-B14F-4D97-AF65-F5344CB8AC3E}">
        <p14:creationId xmlns:p14="http://schemas.microsoft.com/office/powerpoint/2010/main" val="3213367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3" r:id="rId1"/>
    <p:sldLayoutId id="2147484604" r:id="rId2"/>
    <p:sldLayoutId id="2147484605" r:id="rId3"/>
    <p:sldLayoutId id="2147484606" r:id="rId4"/>
    <p:sldLayoutId id="2147484607" r:id="rId5"/>
    <p:sldLayoutId id="2147484608" r:id="rId6"/>
    <p:sldLayoutId id="2147484609" r:id="rId7"/>
    <p:sldLayoutId id="2147484610" r:id="rId8"/>
    <p:sldLayoutId id="2147484611" r:id="rId9"/>
    <p:sldLayoutId id="2147484612" r:id="rId10"/>
    <p:sldLayoutId id="2147484613" r:id="rId11"/>
    <p:sldLayoutId id="2147484614" r:id="rId12"/>
    <p:sldLayoutId id="2147484615" r:id="rId13"/>
    <p:sldLayoutId id="2147484616" r:id="rId14"/>
    <p:sldLayoutId id="2147484617" r:id="rId15"/>
    <p:sldLayoutId id="2147484618" r:id="rId16"/>
    <p:sldLayoutId id="2147484619" r:id="rId17"/>
    <p:sldLayoutId id="2147484620" r:id="rId18"/>
    <p:sldLayoutId id="2147484621" r:id="rId19"/>
    <p:sldLayoutId id="2147484622" r:id="rId20"/>
    <p:sldLayoutId id="2147484623" r:id="rId21"/>
    <p:sldLayoutId id="2147484624" r:id="rId22"/>
    <p:sldLayoutId id="2147484625" r:id="rId23"/>
    <p:sldLayoutId id="2147484626" r:id="rId24"/>
    <p:sldLayoutId id="2147484627" r:id="rId25"/>
    <p:sldLayoutId id="2147484628" r:id="rId26"/>
    <p:sldLayoutId id="2147484629" r:id="rId27"/>
    <p:sldLayoutId id="2147484630" r:id="rId28"/>
    <p:sldLayoutId id="2147484631" r:id="rId29"/>
    <p:sldLayoutId id="2147484632" r:id="rId30"/>
    <p:sldLayoutId id="2147484633" r:id="rId31"/>
    <p:sldLayoutId id="2147484634" r:id="rId32"/>
    <p:sldLayoutId id="2147484635" r:id="rId33"/>
    <p:sldLayoutId id="2147484636" r:id="rId34"/>
    <p:sldLayoutId id="2147484637" r:id="rId35"/>
    <p:sldLayoutId id="2147484638" r:id="rId36"/>
    <p:sldLayoutId id="2147484639" r:id="rId37"/>
    <p:sldLayoutId id="2147484640" r:id="rId38"/>
    <p:sldLayoutId id="2147484641" r:id="rId39"/>
    <p:sldLayoutId id="2147484642" r:id="rId40"/>
    <p:sldLayoutId id="2147484643" r:id="rId41"/>
    <p:sldLayoutId id="2147484644" r:id="rId42"/>
    <p:sldLayoutId id="2147484645" r:id="rId43"/>
  </p:sldLayoutIdLst>
  <p:hf hdr="0" dt="0"/>
  <p:txStyles>
    <p:titleStyle>
      <a:lvl1pPr algn="l" defTabSz="914355" rtl="0" eaLnBrk="1" latinLnBrk="0" hangingPunct="1">
        <a:lnSpc>
          <a:spcPct val="88000"/>
        </a:lnSpc>
        <a:spcBef>
          <a:spcPct val="0"/>
        </a:spcBef>
        <a:buNone/>
        <a:defRPr sz="3500" b="1" kern="1200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355" rtl="0" eaLnBrk="1" latinLnBrk="0" hangingPunct="1">
        <a:lnSpc>
          <a:spcPct val="112000"/>
        </a:lnSpc>
        <a:spcBef>
          <a:spcPts val="0"/>
        </a:spcBef>
        <a:spcAft>
          <a:spcPts val="700"/>
        </a:spcAft>
        <a:buFont typeface="Wingdings" panose="05000000000000000000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355" rtl="0" eaLnBrk="1" latinLnBrk="0" hangingPunct="1">
        <a:lnSpc>
          <a:spcPct val="112000"/>
        </a:lnSpc>
        <a:spcBef>
          <a:spcPts val="0"/>
        </a:spcBef>
        <a:spcAft>
          <a:spcPts val="700"/>
        </a:spcAft>
        <a:buSzPct val="95000"/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355" rtl="0" eaLnBrk="1" latinLnBrk="0" hangingPunct="1">
        <a:lnSpc>
          <a:spcPct val="112000"/>
        </a:lnSpc>
        <a:spcBef>
          <a:spcPts val="0"/>
        </a:spcBef>
        <a:spcAft>
          <a:spcPts val="700"/>
        </a:spcAft>
        <a:buSzPct val="95000"/>
        <a:buFont typeface="Wingdings" panose="05000000000000000000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355" rtl="0" eaLnBrk="1" latinLnBrk="0" hangingPunct="1">
        <a:lnSpc>
          <a:spcPct val="112000"/>
        </a:lnSpc>
        <a:spcBef>
          <a:spcPts val="0"/>
        </a:spcBef>
        <a:spcAft>
          <a:spcPts val="700"/>
        </a:spcAft>
        <a:buSzPct val="95000"/>
        <a:buFont typeface="Wingdings" panose="05000000000000000000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355" rtl="0" eaLnBrk="1" latinLnBrk="0" hangingPunct="1">
        <a:lnSpc>
          <a:spcPct val="112000"/>
        </a:lnSpc>
        <a:spcBef>
          <a:spcPts val="0"/>
        </a:spcBef>
        <a:spcAft>
          <a:spcPts val="700"/>
        </a:spcAft>
        <a:buSzPct val="95000"/>
        <a:buFont typeface="Wingdings" panose="05000000000000000000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355" rtl="0" eaLnBrk="1" latinLnBrk="0" hangingPunct="1">
        <a:lnSpc>
          <a:spcPct val="112000"/>
        </a:lnSpc>
        <a:spcBef>
          <a:spcPts val="0"/>
        </a:spcBef>
        <a:spcAft>
          <a:spcPts val="700"/>
        </a:spcAft>
        <a:buSzPct val="95000"/>
        <a:buFont typeface="Wingdings" panose="05000000000000000000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355" rtl="0" eaLnBrk="1" latinLnBrk="0" hangingPunct="1">
        <a:lnSpc>
          <a:spcPct val="112000"/>
        </a:lnSpc>
        <a:spcBef>
          <a:spcPts val="0"/>
        </a:spcBef>
        <a:spcAft>
          <a:spcPts val="700"/>
        </a:spcAft>
        <a:buSzPct val="95000"/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355" rtl="0" eaLnBrk="1" latinLnBrk="0" hangingPunct="1">
        <a:lnSpc>
          <a:spcPct val="112000"/>
        </a:lnSpc>
        <a:spcBef>
          <a:spcPts val="0"/>
        </a:spcBef>
        <a:spcAft>
          <a:spcPts val="700"/>
        </a:spcAft>
        <a:buSzPct val="95000"/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355" rtl="0" eaLnBrk="1" latinLnBrk="0" hangingPunct="1">
        <a:lnSpc>
          <a:spcPct val="112000"/>
        </a:lnSpc>
        <a:spcBef>
          <a:spcPts val="0"/>
        </a:spcBef>
        <a:spcAft>
          <a:spcPts val="700"/>
        </a:spcAft>
        <a:buSzPct val="95000"/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38.xml"/><Relationship Id="rId5" Type="http://schemas.openxmlformats.org/officeDocument/2006/relationships/image" Target="../media/image35.png"/><Relationship Id="rId4" Type="http://schemas.openxmlformats.org/officeDocument/2006/relationships/image" Target="../media/image3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5" Type="http://schemas.openxmlformats.org/officeDocument/2006/relationships/image" Target="../media/image44.jpeg"/><Relationship Id="rId4" Type="http://schemas.openxmlformats.org/officeDocument/2006/relationships/image" Target="../media/image43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6" Type="http://schemas.openxmlformats.org/officeDocument/2006/relationships/image" Target="../media/image46.jpeg"/><Relationship Id="rId5" Type="http://schemas.openxmlformats.org/officeDocument/2006/relationships/image" Target="../media/image45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Relationship Id="rId4" Type="http://schemas.openxmlformats.org/officeDocument/2006/relationships/image" Target="../media/image43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6" Type="http://schemas.openxmlformats.org/officeDocument/2006/relationships/image" Target="../media/image51.jpeg"/><Relationship Id="rId5" Type="http://schemas.openxmlformats.org/officeDocument/2006/relationships/image" Target="../media/image50.jpeg"/><Relationship Id="rId4" Type="http://schemas.openxmlformats.org/officeDocument/2006/relationships/image" Target="../media/image43.em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image" Target="../media/image35.png"/><Relationship Id="rId5" Type="http://schemas.openxmlformats.org/officeDocument/2006/relationships/image" Target="../media/image36.jpe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5.png"/><Relationship Id="rId4" Type="http://schemas.openxmlformats.org/officeDocument/2006/relationships/image" Target="../media/image3.sv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8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5" Type="http://schemas.openxmlformats.org/officeDocument/2006/relationships/image" Target="../media/image42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0A1D3235-BCF9-5B30-AA0D-86DF1CC9D50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l="17" r="17"/>
          <a:stretch/>
        </p:blipFill>
        <p:spPr>
          <a:xfrm>
            <a:off x="-316002" y="-125260"/>
            <a:ext cx="12508002" cy="7035751"/>
          </a:xfrm>
          <a:prstGeom prst="rect">
            <a:avLst/>
          </a:prstGeom>
          <a:solidFill>
            <a:srgbClr val="DDDDDD"/>
          </a:solidFill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7140643-AD98-40B5-B2ED-8465B165D2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okument id h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27D2590-FF03-4992-9641-CC9D09301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</a:t>
            </a:fld>
            <a:endParaRPr lang="en-GB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F755A64-8CAC-47AC-93DB-FDE781CDF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0439861"/>
              </p:ext>
            </p:extLst>
          </p:nvPr>
        </p:nvGraphicFramePr>
        <p:xfrm>
          <a:off x="548492" y="619312"/>
          <a:ext cx="4042261" cy="26785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389">
                  <a:extLst>
                    <a:ext uri="{9D8B030D-6E8A-4147-A177-3AD203B41FA5}">
                      <a16:colId xmlns:a16="http://schemas.microsoft.com/office/drawing/2014/main" val="3060352896"/>
                    </a:ext>
                  </a:extLst>
                </a:gridCol>
                <a:gridCol w="194136">
                  <a:extLst>
                    <a:ext uri="{9D8B030D-6E8A-4147-A177-3AD203B41FA5}">
                      <a16:colId xmlns:a16="http://schemas.microsoft.com/office/drawing/2014/main" val="3852382277"/>
                    </a:ext>
                  </a:extLst>
                </a:gridCol>
                <a:gridCol w="3456000">
                  <a:extLst>
                    <a:ext uri="{9D8B030D-6E8A-4147-A177-3AD203B41FA5}">
                      <a16:colId xmlns:a16="http://schemas.microsoft.com/office/drawing/2014/main" val="3318055102"/>
                    </a:ext>
                  </a:extLst>
                </a:gridCol>
                <a:gridCol w="194136">
                  <a:extLst>
                    <a:ext uri="{9D8B030D-6E8A-4147-A177-3AD203B41FA5}">
                      <a16:colId xmlns:a16="http://schemas.microsoft.com/office/drawing/2014/main" val="2962095205"/>
                    </a:ext>
                  </a:extLst>
                </a:gridCol>
                <a:gridCol w="101600">
                  <a:extLst>
                    <a:ext uri="{9D8B030D-6E8A-4147-A177-3AD203B41FA5}">
                      <a16:colId xmlns:a16="http://schemas.microsoft.com/office/drawing/2014/main" val="337404660"/>
                    </a:ext>
                  </a:extLst>
                </a:gridCol>
              </a:tblGrid>
              <a:tr h="101600">
                <a:tc>
                  <a:txBody>
                    <a:bodyPr/>
                    <a:lstStyle/>
                    <a:p>
                      <a:pPr algn="r"/>
                      <a:endParaRPr lang="en-US" sz="10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1972822"/>
                  </a:ext>
                </a:extLst>
              </a:tr>
              <a:tr h="1524959">
                <a:tc>
                  <a:txBody>
                    <a:bodyPr/>
                    <a:lstStyle/>
                    <a:p>
                      <a:pPr algn="r"/>
                      <a:endParaRPr lang="en-US" sz="10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3000" b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72000" marB="7200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b="0">
                          <a:solidFill>
                            <a:schemeClr val="tx1"/>
                          </a:solidFill>
                          <a:latin typeface="Aptos Serif" panose="02020604070405020304" pitchFamily="18" charset="0"/>
                          <a:cs typeface="Aptos Serif" panose="02020604070405020304" pitchFamily="18" charset="0"/>
                        </a:rPr>
                        <a:t>Design af </a:t>
                      </a:r>
                      <a:r>
                        <a:rPr lang="en-US" sz="2400" b="0" err="1">
                          <a:solidFill>
                            <a:schemeClr val="tx1"/>
                          </a:solidFill>
                          <a:latin typeface="Aptos Serif" panose="02020604070405020304" pitchFamily="18" charset="0"/>
                          <a:cs typeface="Aptos Serif" panose="02020604070405020304" pitchFamily="18" charset="0"/>
                        </a:rPr>
                        <a:t>våde</a:t>
                      </a:r>
                      <a:r>
                        <a:rPr lang="en-US" sz="2400" b="0">
                          <a:solidFill>
                            <a:schemeClr val="tx1"/>
                          </a:solidFill>
                          <a:latin typeface="Aptos Serif" panose="02020604070405020304" pitchFamily="18" charset="0"/>
                          <a:cs typeface="Aptos Serif" panose="02020604070405020304" pitchFamily="18" charset="0"/>
                        </a:rPr>
                        <a:t> </a:t>
                      </a:r>
                      <a:r>
                        <a:rPr lang="en-US" sz="2400" b="0" err="1">
                          <a:solidFill>
                            <a:schemeClr val="tx1"/>
                          </a:solidFill>
                          <a:latin typeface="Aptos Serif" panose="02020604070405020304" pitchFamily="18" charset="0"/>
                          <a:cs typeface="Aptos Serif" panose="02020604070405020304" pitchFamily="18" charset="0"/>
                        </a:rPr>
                        <a:t>regnvandsbassiner</a:t>
                      </a:r>
                      <a:endParaRPr lang="en-US" sz="2400" b="0">
                        <a:solidFill>
                          <a:schemeClr val="tx1"/>
                        </a:solidFill>
                        <a:latin typeface="Aptos Serif" panose="02020604070405020304" pitchFamily="18" charset="0"/>
                        <a:cs typeface="Aptos Serif" panose="02020604070405020304" pitchFamily="18" charset="0"/>
                      </a:endParaRPr>
                    </a:p>
                  </a:txBody>
                  <a:tcPr marL="0" marR="0" marT="122400" marB="1404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72000" marB="7200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9338731"/>
                  </a:ext>
                </a:extLst>
              </a:tr>
              <a:tr h="515566">
                <a:tc>
                  <a:txBody>
                    <a:bodyPr/>
                    <a:lstStyle/>
                    <a:p>
                      <a:pPr algn="r"/>
                      <a:endParaRPr lang="en-US" sz="10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>
                          <a:solidFill>
                            <a:schemeClr val="tx1"/>
                          </a:solidFill>
                          <a:latin typeface="Aptos Light" panose="020B0004020202020204" pitchFamily="34" charset="0"/>
                          <a:ea typeface="Segoe UI Black" panose="020B0A02040204020203" pitchFamily="34" charset="0"/>
                        </a:rPr>
                        <a:t>EVA-</a:t>
                      </a:r>
                      <a:r>
                        <a:rPr lang="en-US" sz="2000" err="1">
                          <a:solidFill>
                            <a:schemeClr val="tx1"/>
                          </a:solidFill>
                          <a:latin typeface="Aptos Light" panose="020B0004020202020204" pitchFamily="34" charset="0"/>
                          <a:ea typeface="Segoe UI Black" panose="020B0A02040204020203" pitchFamily="34" charset="0"/>
                        </a:rPr>
                        <a:t>temadag</a:t>
                      </a:r>
                      <a:r>
                        <a:rPr lang="en-US" sz="2000">
                          <a:solidFill>
                            <a:schemeClr val="tx1"/>
                          </a:solidFill>
                          <a:latin typeface="Aptos Light" panose="020B0004020202020204" pitchFamily="34" charset="0"/>
                          <a:ea typeface="Segoe UI Black" panose="020B0A02040204020203" pitchFamily="34" charset="0"/>
                        </a:rPr>
                        <a:t> </a:t>
                      </a:r>
                    </a:p>
                  </a:txBody>
                  <a:tcPr marL="0" marR="0" marT="126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2325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endParaRPr lang="en-US" sz="10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cap="none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26. Feb. 2026</a:t>
                      </a:r>
                      <a:endParaRPr lang="en-US" sz="1000" cap="all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0" marR="0" marT="72000" marB="1872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3507757"/>
                  </a:ext>
                </a:extLst>
              </a:tr>
              <a:tr h="101600">
                <a:tc>
                  <a:txBody>
                    <a:bodyPr/>
                    <a:lstStyle/>
                    <a:p>
                      <a:pPr algn="r"/>
                      <a:endParaRPr lang="en-US" sz="10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 cap="all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9653087"/>
                  </a:ext>
                </a:extLst>
              </a:tr>
            </a:tbl>
          </a:graphicData>
        </a:graphic>
      </p:graphicFrame>
      <p:sp>
        <p:nvSpPr>
          <p:cNvPr id="9" name="Rectangle 8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DC62FAFA-A16C-4AA8-A8FC-B8D3BF26A6CC}"/>
              </a:ext>
            </a:extLst>
          </p:cNvPr>
          <p:cNvSpPr/>
          <p:nvPr/>
        </p:nvSpPr>
        <p:spPr>
          <a:xfrm>
            <a:off x="548492" y="6367616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600">
                <a:solidFill>
                  <a:schemeClr val="accent3"/>
                </a:solidFill>
              </a:rPr>
              <a:t>10425072-786504943-361</a:t>
            </a:r>
          </a:p>
        </p:txBody>
      </p:sp>
      <p:sp>
        <p:nvSpPr>
          <p:cNvPr id="3" name="AutoShape 2" descr="Wsp Logo PNG Images - CleanPNG">
            <a:extLst>
              <a:ext uri="{FF2B5EF4-FFF2-40B4-BE49-F238E27FC236}">
                <a16:creationId xmlns:a16="http://schemas.microsoft.com/office/drawing/2014/main" id="{A385F469-FCFD-5734-1B49-7E14F58008C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191000" y="3276600"/>
            <a:ext cx="2057400" cy="2057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5" name="AutoShape 4" descr="Wsp Logo PNG Images - CleanPNG">
            <a:extLst>
              <a:ext uri="{FF2B5EF4-FFF2-40B4-BE49-F238E27FC236}">
                <a16:creationId xmlns:a16="http://schemas.microsoft.com/office/drawing/2014/main" id="{257BE454-963C-939B-C2DE-7A378558D90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pic>
        <p:nvPicPr>
          <p:cNvPr id="7" name="Graphic 10">
            <a:extLst>
              <a:ext uri="{FF2B5EF4-FFF2-40B4-BE49-F238E27FC236}">
                <a16:creationId xmlns:a16="http://schemas.microsoft.com/office/drawing/2014/main" id="{B6255B19-D612-BB88-9B52-BD4A836C16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98640" y="6241489"/>
            <a:ext cx="1080000" cy="341053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96D97B98-78B7-5374-206C-30D313940B8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17696" y="6189863"/>
            <a:ext cx="1080944" cy="720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6699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EEF900-B927-F4AE-7C66-E6AFC28946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99A9469-A732-C546-6E75-8F5EDE50D6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9A9469-A732-C546-6E75-8F5EDE50D6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D5960E7-4F0C-A25B-48A1-A26510310A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Våde </a:t>
            </a:r>
            <a:r>
              <a:rPr lang="da-DK" dirty="0" err="1"/>
              <a:t>forbassiner</a:t>
            </a:r>
            <a:endParaRPr lang="da-DK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E3CD11-C059-7B66-6134-0FCFD9E57A5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wrap="square" lIns="72000" tIns="36000" rIns="72000" bIns="36000" rtlCol="0" anchor="t">
            <a:noAutofit/>
          </a:bodyPr>
          <a:lstStyle/>
          <a:p>
            <a:r>
              <a:rPr lang="da-DK" dirty="0">
                <a:latin typeface="Segoe UI Black"/>
                <a:ea typeface="Segoe UI Black"/>
              </a:rPr>
              <a:t> Drif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1CDDAD-CDFE-3A3F-A50B-6E2B0C7A34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10</a:t>
            </a:fld>
            <a:endParaRPr lang="da-DK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B417212-D90C-AD16-6498-12CC358B827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95117" y="1511300"/>
            <a:ext cx="5996425" cy="4984916"/>
          </a:xfr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da-DK" dirty="0"/>
              <a:t>Tømmes ved 50% fyldning (</a:t>
            </a:r>
            <a:r>
              <a:rPr lang="da-DK" i="1" dirty="0"/>
              <a:t>25-75%</a:t>
            </a:r>
            <a:r>
              <a:rPr lang="da-DK" dirty="0"/>
              <a:t>)</a:t>
            </a:r>
          </a:p>
          <a:p>
            <a:r>
              <a:rPr lang="da-DK" dirty="0">
                <a:cs typeface="Segoe UI"/>
              </a:rPr>
              <a:t>Tømnings-interval: 1-7 år (</a:t>
            </a:r>
            <a:r>
              <a:rPr lang="da-DK" i="1" dirty="0">
                <a:cs typeface="Segoe UI"/>
              </a:rPr>
              <a:t>US og UK</a:t>
            </a:r>
            <a:r>
              <a:rPr lang="da-DK" dirty="0">
                <a:cs typeface="Segoe UI"/>
              </a:rPr>
              <a:t>)</a:t>
            </a:r>
          </a:p>
          <a:p>
            <a:r>
              <a:rPr lang="da-DK" dirty="0">
                <a:cs typeface="Segoe UI"/>
              </a:rPr>
              <a:t>Tømmes inden ibrugtagning og ved større anlægsarbejder i oplandet (</a:t>
            </a:r>
            <a:r>
              <a:rPr lang="da-DK" i="1" dirty="0">
                <a:cs typeface="Segoe UI"/>
              </a:rPr>
              <a:t>byggemodninger?</a:t>
            </a:r>
            <a:r>
              <a:rPr lang="da-DK" dirty="0">
                <a:cs typeface="Segoe UI"/>
              </a:rPr>
              <a:t>), øges frekvensen til hvert år (</a:t>
            </a:r>
            <a:r>
              <a:rPr lang="da-DK" i="1" dirty="0">
                <a:cs typeface="Segoe UI"/>
              </a:rPr>
              <a:t>Hunt &amp; Lord, 2006</a:t>
            </a:r>
            <a:r>
              <a:rPr lang="da-DK" dirty="0">
                <a:cs typeface="Segoe UI"/>
              </a:rPr>
              <a:t>)</a:t>
            </a:r>
          </a:p>
          <a:p>
            <a:r>
              <a:rPr lang="da-DK" dirty="0">
                <a:solidFill>
                  <a:srgbClr val="000000"/>
                </a:solidFill>
                <a:cs typeface="Segoe UI"/>
              </a:rPr>
              <a:t>Lav forureningsgrad af sediment (</a:t>
            </a:r>
            <a:r>
              <a:rPr lang="da-DK" i="1" dirty="0" err="1">
                <a:solidFill>
                  <a:srgbClr val="000000"/>
                </a:solidFill>
                <a:cs typeface="Segoe UI"/>
              </a:rPr>
              <a:t>McNett</a:t>
            </a:r>
            <a:r>
              <a:rPr lang="da-DK" i="1" dirty="0">
                <a:solidFill>
                  <a:srgbClr val="000000"/>
                </a:solidFill>
                <a:cs typeface="Segoe UI"/>
              </a:rPr>
              <a:t> &amp; Hunt, 2011</a:t>
            </a:r>
            <a:r>
              <a:rPr lang="da-DK" dirty="0">
                <a:solidFill>
                  <a:srgbClr val="000000"/>
                </a:solidFill>
                <a:cs typeface="Segoe UI"/>
              </a:rPr>
              <a:t>)</a:t>
            </a:r>
          </a:p>
          <a:p>
            <a:pPr marL="0" indent="0">
              <a:buNone/>
            </a:pPr>
            <a:endParaRPr lang="da-DK" dirty="0">
              <a:cs typeface="Segoe UI"/>
            </a:endParaRPr>
          </a:p>
          <a:p>
            <a:pPr marL="0" indent="0">
              <a:buNone/>
            </a:pPr>
            <a:r>
              <a:rPr lang="da-DK" dirty="0">
                <a:cs typeface="Segoe UI"/>
              </a:rPr>
              <a:t>DK erfaringer: </a:t>
            </a:r>
            <a:endParaRPr lang="da-DK" dirty="0"/>
          </a:p>
          <a:p>
            <a:r>
              <a:rPr lang="da-DK" u="sng" dirty="0"/>
              <a:t>Ikke</a:t>
            </a:r>
            <a:r>
              <a:rPr lang="da-DK" dirty="0"/>
              <a:t> nævnt i </a:t>
            </a:r>
            <a:r>
              <a:rPr lang="da-DK" dirty="0" err="1"/>
              <a:t>Danva</a:t>
            </a:r>
            <a:r>
              <a:rPr lang="da-DK" dirty="0"/>
              <a:t> Vejledning nr. 97, Drift og vedligehold af regnvandsbassiner, 2016</a:t>
            </a:r>
            <a:endParaRPr lang="da-DK" dirty="0">
              <a:cs typeface="Segoe UI"/>
            </a:endParaRPr>
          </a:p>
          <a:p>
            <a:r>
              <a:rPr lang="da-DK" u="sng" dirty="0">
                <a:cs typeface="Segoe UI"/>
              </a:rPr>
              <a:t>Ingen</a:t>
            </a:r>
            <a:r>
              <a:rPr lang="da-DK" dirty="0">
                <a:cs typeface="Segoe UI"/>
              </a:rPr>
              <a:t> systematiseret opsamling og statistik vedr. erfaringer med drift af </a:t>
            </a:r>
            <a:r>
              <a:rPr lang="da-DK" dirty="0" err="1">
                <a:cs typeface="Segoe UI"/>
              </a:rPr>
              <a:t>forbassiner</a:t>
            </a:r>
            <a:r>
              <a:rPr lang="da-DK" dirty="0">
                <a:cs typeface="Segoe UI"/>
              </a:rPr>
              <a:t> </a:t>
            </a:r>
          </a:p>
          <a:p>
            <a:r>
              <a:rPr lang="da-DK" dirty="0">
                <a:cs typeface="Segoe UI"/>
              </a:rPr>
              <a:t>Generel feedback fra branchen; </a:t>
            </a:r>
            <a:r>
              <a:rPr lang="da-DK" dirty="0" err="1">
                <a:cs typeface="Segoe UI"/>
              </a:rPr>
              <a:t>Forbassiner</a:t>
            </a:r>
            <a:r>
              <a:rPr lang="da-DK" dirty="0">
                <a:cs typeface="Segoe UI"/>
              </a:rPr>
              <a:t> bliver </a:t>
            </a:r>
            <a:r>
              <a:rPr lang="da-DK" u="sng" dirty="0">
                <a:cs typeface="Segoe UI"/>
              </a:rPr>
              <a:t>ikke</a:t>
            </a:r>
            <a:r>
              <a:rPr lang="da-DK" dirty="0">
                <a:cs typeface="Segoe UI"/>
              </a:rPr>
              <a:t> tømt </a:t>
            </a:r>
            <a:r>
              <a:rPr lang="da-DK" i="1" dirty="0">
                <a:cs typeface="Segoe UI"/>
              </a:rPr>
              <a:t>(tilsyn, økonomi og ressourcer, tilladelser, anlægs- eller driftsprojekt mm.) </a:t>
            </a:r>
          </a:p>
          <a:p>
            <a:r>
              <a:rPr lang="da-DK" dirty="0">
                <a:cs typeface="Segoe UI"/>
              </a:rPr>
              <a:t>Følger af generelt efterslæb på oprensning af regnvandsbassiner?</a:t>
            </a:r>
          </a:p>
        </p:txBody>
      </p:sp>
      <p:pic>
        <p:nvPicPr>
          <p:cNvPr id="6" name="Picture 5" descr="A construction site with a bucket digging a hole in the middle of a snowy field&#10;&#10;AI-generated content may be incorrect.">
            <a:extLst>
              <a:ext uri="{FF2B5EF4-FFF2-40B4-BE49-F238E27FC236}">
                <a16:creationId xmlns:a16="http://schemas.microsoft.com/office/drawing/2014/main" id="{994B187F-5C3B-8DC4-588A-F940D3F568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12137" y="1582571"/>
            <a:ext cx="5658951" cy="4242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0341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299B2E-A344-8430-5DB1-BDD1A7908E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B7EEE48-217C-3AF7-4E18-1F06021930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0" progId="TCLayout.ActiveDocument.1">
                  <p:embed/>
                </p:oleObj>
              </mc:Choice>
              <mc:Fallback>
                <p:oleObj name="think-cell Slide" r:id="rId3" imgW="530" imgH="53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7EEE48-217C-3AF7-4E18-1F06021930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E4FA1A9-2A16-30A0-50ED-29C1816A4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Åben sandfangskass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7DD36C-F046-E9F0-64AF-42280CD189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11</a:t>
            </a:fld>
            <a:endParaRPr lang="da-DK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5738EB6-81CD-626D-F326-3B7B36997BA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9199" y="1108258"/>
            <a:ext cx="11473200" cy="4648200"/>
          </a:xfr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da-DK" dirty="0"/>
              <a:t>Dimensioneres oftest mindre end traditionelle våde </a:t>
            </a:r>
            <a:r>
              <a:rPr lang="da-DK" dirty="0" err="1"/>
              <a:t>forbassiner</a:t>
            </a:r>
            <a:r>
              <a:rPr lang="da-DK" dirty="0"/>
              <a:t> </a:t>
            </a:r>
            <a:r>
              <a:rPr lang="da-DK" sz="2000" dirty="0">
                <a:latin typeface="Aptos"/>
              </a:rPr>
              <a:t>→ </a:t>
            </a:r>
            <a:r>
              <a:rPr lang="da-DK" dirty="0">
                <a:latin typeface="Segoe UI"/>
                <a:cs typeface="Segoe UI"/>
              </a:rPr>
              <a:t>Hyppigere tømningsfrekvens</a:t>
            </a:r>
            <a:r>
              <a:rPr lang="da-DK" dirty="0"/>
              <a:t> </a:t>
            </a:r>
          </a:p>
          <a:p>
            <a:r>
              <a:rPr lang="da-DK" dirty="0"/>
              <a:t>Mindre administration i driftsfasen – F.eks. forhåndsdispensationer fra §3 (dog fortsat jordhåndtering og deponering)</a:t>
            </a:r>
          </a:p>
          <a:p>
            <a:r>
              <a:rPr lang="da-DK" dirty="0"/>
              <a:t>Blandede og få erfaringer fra drift ift. tømme-interval, </a:t>
            </a:r>
            <a:r>
              <a:rPr lang="da-DK" dirty="0" err="1"/>
              <a:t>afdræning</a:t>
            </a:r>
            <a:r>
              <a:rPr lang="da-DK" dirty="0"/>
              <a:t> og sedimenthåndtering, ”</a:t>
            </a:r>
            <a:r>
              <a:rPr lang="da-DK" dirty="0" err="1"/>
              <a:t>driftbarhed</a:t>
            </a:r>
            <a:r>
              <a:rPr lang="da-DK" dirty="0"/>
              <a:t>”, effekt på hovedbassinets driftsinterval mv. 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8E7C30C-4683-B591-88CD-40176C131E9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8150" y="2727255"/>
            <a:ext cx="11477625" cy="40290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52984DB-31B3-ABD0-3625-CBB65E0CE45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0155" y="2692865"/>
            <a:ext cx="5512445" cy="413495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057690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CA5450-B316-BB69-D586-7C9BC80C30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81982B9-4136-23C6-5D1C-898F9C4EE4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0" progId="TCLayout.ActiveDocument.1">
                  <p:embed/>
                </p:oleObj>
              </mc:Choice>
              <mc:Fallback>
                <p:oleObj name="think-cell Slide" r:id="rId3" imgW="530" imgH="53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1982B9-4136-23C6-5D1C-898F9C4EE4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3C44902-1B03-388A-5106-51099CDFCA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Lukkede sandfangs-elemente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80F74D-6309-171C-C896-DBD400DAF7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12</a:t>
            </a:fld>
            <a:endParaRPr lang="da-DK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8E28D77-891F-EEFE-2297-85F2C5CBFC6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61"/>
          <a:stretch>
            <a:fillRect/>
          </a:stretch>
        </p:blipFill>
        <p:spPr bwMode="auto">
          <a:xfrm>
            <a:off x="570418" y="3277363"/>
            <a:ext cx="4960477" cy="3459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F2D59C1-F210-846B-86E4-0E73486F77C2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71" t="38437" r="4587"/>
          <a:stretch>
            <a:fillRect/>
          </a:stretch>
        </p:blipFill>
        <p:spPr>
          <a:xfrm>
            <a:off x="6108365" y="3424269"/>
            <a:ext cx="5948046" cy="3435447"/>
          </a:xfrm>
          <a:prstGeom prst="rect">
            <a:avLst/>
          </a:prstGeom>
        </p:spPr>
      </p:pic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CEE66A5-3C60-9755-D1B0-4D4CDC72D43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712" y="1158639"/>
            <a:ext cx="11496214" cy="4648200"/>
          </a:xfr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da-DK" dirty="0"/>
              <a:t>Forskellige kriterier og teori for dimensionering</a:t>
            </a:r>
          </a:p>
          <a:p>
            <a:r>
              <a:rPr lang="da-DK" dirty="0"/>
              <a:t>Mindre administration og ingen direkte tilladelser påkrævet i driftsfase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a-DK" dirty="0"/>
              <a:t>Reel chance for at sandfanget bliver tømt?</a:t>
            </a:r>
          </a:p>
          <a:p>
            <a:r>
              <a:rPr lang="da-DK" dirty="0"/>
              <a:t>Opsamlede erfaringer fra drift ift. tømme-interval og effekt på hovedbassinets driftsinterval mv.? </a:t>
            </a:r>
          </a:p>
          <a:p>
            <a:r>
              <a:rPr lang="da-DK" dirty="0">
                <a:cs typeface="Segoe UI"/>
              </a:rPr>
              <a:t>Tømmes med slamsuger </a:t>
            </a:r>
            <a:r>
              <a:rPr lang="da-DK" sz="2000" dirty="0">
                <a:latin typeface="Aptos"/>
                <a:cs typeface="Segoe UI"/>
              </a:rPr>
              <a:t>→</a:t>
            </a:r>
            <a:r>
              <a:rPr lang="da-DK" dirty="0">
                <a:cs typeface="Segoe UI"/>
              </a:rPr>
              <a:t> Køres typisk på renseanlægget (godt eller skidt?)</a:t>
            </a:r>
          </a:p>
          <a:p>
            <a:pPr marL="568325" lvl="1">
              <a:buFont typeface="Courier New" panose="020B0604020202020204" pitchFamily="34" charset="0"/>
              <a:buChar char="o"/>
            </a:pPr>
            <a:r>
              <a:rPr lang="da-DK">
                <a:cs typeface="Segoe UI"/>
              </a:rPr>
              <a:t>(Volumen, økonomi, bæredygtighed, behandling og genanvendelse</a:t>
            </a:r>
            <a:r>
              <a:rPr lang="da-DK" i="1" dirty="0">
                <a:cs typeface="Segoe UI"/>
              </a:rPr>
              <a:t>)</a:t>
            </a:r>
            <a:endParaRPr lang="da-DK" dirty="0">
              <a:cs typeface="Segoe UI"/>
            </a:endParaRPr>
          </a:p>
          <a:p>
            <a:endParaRPr lang="da-DK" dirty="0">
              <a:cs typeface="Segoe UI"/>
            </a:endParaRPr>
          </a:p>
        </p:txBody>
      </p:sp>
      <p:pic>
        <p:nvPicPr>
          <p:cNvPr id="9" name="Picture 8" descr="A black pipe with a blueprint&#10;&#10;AI-generated content may be incorrect.">
            <a:extLst>
              <a:ext uri="{FF2B5EF4-FFF2-40B4-BE49-F238E27FC236}">
                <a16:creationId xmlns:a16="http://schemas.microsoft.com/office/drawing/2014/main" id="{4B951C34-1133-70EE-32FF-84E27F3B754E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-202" b="69977"/>
          <a:stretch>
            <a:fillRect/>
          </a:stretch>
        </p:blipFill>
        <p:spPr>
          <a:xfrm>
            <a:off x="5795389" y="3332601"/>
            <a:ext cx="6257838" cy="1675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02450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6145CD-7398-133C-5906-413B3A0274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Fører sandfangselementer til bedre rensning?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AEF8F2-2813-2AE0-BFC3-188F84B7EB6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4BB693-9EE1-4601-0185-6A5CF058C6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13</a:t>
            </a:fld>
            <a:endParaRPr lang="da-DK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405273C-89B7-706B-8CDC-F1B14CA4DDF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9199" y="1511299"/>
            <a:ext cx="11393401" cy="4878699"/>
          </a:xfr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da-DK" dirty="0"/>
              <a:t>Ja, indirekte ved </a:t>
            </a:r>
            <a:r>
              <a:rPr lang="da-DK" b="1" err="1"/>
              <a:t>forbassiner</a:t>
            </a:r>
            <a:r>
              <a:rPr lang="da-DK" b="1" dirty="0"/>
              <a:t> med overløbskant som sektionering </a:t>
            </a:r>
            <a:r>
              <a:rPr lang="da-DK" dirty="0"/>
              <a:t>(</a:t>
            </a:r>
            <a:r>
              <a:rPr lang="da-DK" i="1" dirty="0"/>
              <a:t>guidelines, teoretiske studier og enkelte </a:t>
            </a:r>
            <a:r>
              <a:rPr lang="da-DK" i="1" err="1"/>
              <a:t>felt-studier</a:t>
            </a:r>
            <a:r>
              <a:rPr lang="da-DK" dirty="0"/>
              <a:t>)</a:t>
            </a:r>
          </a:p>
          <a:p>
            <a:pPr marL="568325" lvl="1">
              <a:buFont typeface="Courier New" panose="020B0604020202020204" pitchFamily="34" charset="0"/>
              <a:buChar char="o"/>
            </a:pPr>
            <a:r>
              <a:rPr lang="da-DK" dirty="0"/>
              <a:t>Undgår/minimerer kortslutningsstrømme </a:t>
            </a:r>
            <a:endParaRPr lang="da-DK" dirty="0">
              <a:cs typeface="Segoe UI"/>
            </a:endParaRPr>
          </a:p>
          <a:p>
            <a:pPr marL="568325" lvl="1">
              <a:buFont typeface="Courier New" panose="020B0604020202020204" pitchFamily="34" charset="0"/>
              <a:buChar char="o"/>
            </a:pPr>
            <a:r>
              <a:rPr lang="da-DK" dirty="0"/>
              <a:t>Forudsat at </a:t>
            </a:r>
            <a:r>
              <a:rPr lang="da-DK" err="1"/>
              <a:t>forbassin</a:t>
            </a:r>
            <a:r>
              <a:rPr lang="da-DK" dirty="0"/>
              <a:t> driftes og oprenses(?)</a:t>
            </a:r>
            <a:endParaRPr lang="da-DK" dirty="0">
              <a:cs typeface="Segoe UI"/>
            </a:endParaRPr>
          </a:p>
          <a:p>
            <a:pPr lvl="1">
              <a:buFont typeface="Courier New" panose="020B0604020202020204" pitchFamily="34" charset="0"/>
              <a:buChar char="o"/>
            </a:pPr>
            <a:endParaRPr lang="da-DK" dirty="0">
              <a:cs typeface="Segoe UI"/>
            </a:endParaRPr>
          </a:p>
          <a:p>
            <a:r>
              <a:rPr lang="da-DK" dirty="0"/>
              <a:t>Fravælges </a:t>
            </a:r>
            <a:r>
              <a:rPr lang="da-DK" err="1"/>
              <a:t>forbassin</a:t>
            </a:r>
            <a:r>
              <a:rPr lang="da-DK" dirty="0"/>
              <a:t> bør man indtænke andre strukturer (øer, stensætninger, barrierer o.l.) samt vinkling og evt. opdeling af </a:t>
            </a:r>
            <a:r>
              <a:rPr lang="da-DK"/>
              <a:t>tilløb for at undgå kortslutning (OBS ift. selvstændige lukkede/åbne sandfang)</a:t>
            </a:r>
            <a:endParaRPr lang="da-DK">
              <a:cs typeface="Segoe UI"/>
            </a:endParaRP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Simple retningslinjer (virkeligheden er meget mere kompliceret)</a:t>
            </a:r>
          </a:p>
          <a:p>
            <a:r>
              <a:rPr lang="da-DK" dirty="0"/>
              <a:t>Ingen studier der påviser optimeret rensning i våde bassiner, i direkte relation til de øvrige sandfangselemente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D52D124-F292-9C86-A078-9696448996B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617"/>
          <a:stretch>
            <a:fillRect/>
          </a:stretch>
        </p:blipFill>
        <p:spPr bwMode="auto">
          <a:xfrm>
            <a:off x="2752843" y="3357765"/>
            <a:ext cx="5842959" cy="161005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735964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0FA303-B863-99FE-5E9F-4BBD93E5CF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83A92B1-B130-C8AE-8CBF-E54C330242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3A92B1-B130-C8AE-8CBF-E54C33024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3A35981-ADF6-FE94-7F1A-C3596B3420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Materialevalg –Membraner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9179569-7F46-B158-1F43-38E53CE9CFC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buNone/>
            </a:pPr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D72643-8445-F08E-0382-B4BBC27CC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14</a:t>
            </a:fld>
            <a:endParaRPr lang="da-DK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D1C9285-D182-7DA0-24D3-31BA460D489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9199" y="1511300"/>
            <a:ext cx="11300767" cy="4648200"/>
          </a:xfrm>
        </p:spPr>
        <p:txBody>
          <a:bodyPr vert="horz" lIns="72000" tIns="36000" rIns="72000" bIns="36000" rtlCol="0" anchor="t">
            <a:noAutofit/>
          </a:bodyPr>
          <a:lstStyle/>
          <a:p>
            <a:pPr marL="0" indent="0">
              <a:buNone/>
            </a:pPr>
            <a:r>
              <a:rPr lang="da-DK" dirty="0"/>
              <a:t>Membran (geoteknisk betydning): Et lag der anvendes til at forhindre gennemstrømning af vand og/eller forurenende stoffer i jorden. Indgår bl.a. i bassiner, deponeringsanlæg og konstruktioner, hvor lav permeabilitet er afgørende</a:t>
            </a:r>
          </a:p>
          <a:p>
            <a:pPr marL="0" indent="0">
              <a:buNone/>
            </a:pPr>
            <a:endParaRPr lang="da-DK" b="1" dirty="0"/>
          </a:p>
          <a:p>
            <a:pPr marL="0" indent="0">
              <a:buNone/>
            </a:pPr>
            <a:r>
              <a:rPr lang="da-DK" b="1" dirty="0"/>
              <a:t>Formål med membran i våde bassiner:</a:t>
            </a:r>
          </a:p>
          <a:p>
            <a:r>
              <a:rPr lang="da-DK" dirty="0"/>
              <a:t>At fastholde det permanente vandspejl (sedimentation og reducere risikoen for suspendering af sediment) </a:t>
            </a:r>
          </a:p>
          <a:p>
            <a:r>
              <a:rPr lang="da-DK" dirty="0"/>
              <a:t>At forhindre udsivning af ”</a:t>
            </a:r>
            <a:r>
              <a:rPr lang="da-DK" err="1"/>
              <a:t>perkolat</a:t>
            </a:r>
            <a:r>
              <a:rPr lang="da-DK" dirty="0"/>
              <a:t>”</a:t>
            </a:r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r>
              <a:rPr lang="da-DK"/>
              <a:t>Valg af membran-type afhænger af forskellige forhold såsom:</a:t>
            </a:r>
            <a:endParaRPr lang="da-DK">
              <a:cs typeface="Segoe UI"/>
            </a:endParaRPr>
          </a:p>
          <a:p>
            <a:r>
              <a:rPr lang="da-DK" dirty="0"/>
              <a:t>Geologi og grundvandsforhold</a:t>
            </a:r>
          </a:p>
          <a:p>
            <a:r>
              <a:rPr lang="da-DK" dirty="0"/>
              <a:t>Bygbarhed i etableringsfasen</a:t>
            </a:r>
          </a:p>
          <a:p>
            <a:r>
              <a:rPr lang="da-DK" err="1"/>
              <a:t>Driftbarhed</a:t>
            </a:r>
            <a:r>
              <a:rPr lang="da-DK" dirty="0"/>
              <a:t> (oprensning og tømning)</a:t>
            </a:r>
          </a:p>
          <a:p>
            <a:r>
              <a:rPr lang="da-DK" dirty="0"/>
              <a:t>Myndighedskrav (grundvandsressourcen)</a:t>
            </a:r>
          </a:p>
          <a:p>
            <a:pPr lvl="1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72617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0308BC-5D71-7AB3-4EAE-C4BEF3D56B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1DD51F7-B9A2-EDA0-BDCC-48A7ACE7BB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DD51F7-B9A2-EDA0-BDCC-48A7ACE7BB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D5BCAD5-783B-C8B4-184B-4B63AC4C2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Membran-typ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51366D3-F503-F1B9-A5A8-1DF4B3875AB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9286AF-7324-F3D3-E36E-1BD0E58689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15</a:t>
            </a:fld>
            <a:endParaRPr lang="da-DK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F2FDAB0-9CA4-5EDB-8022-6FDE798A294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9198" y="1511299"/>
            <a:ext cx="11393402" cy="5118101"/>
          </a:xfrm>
        </p:spPr>
        <p:txBody>
          <a:bodyPr/>
          <a:lstStyle/>
          <a:p>
            <a:pPr marL="342900" indent="-342900">
              <a:buFont typeface="+mj-lt"/>
              <a:buAutoNum type="alphaLcParenR"/>
            </a:pPr>
            <a:r>
              <a:rPr lang="da-DK" dirty="0"/>
              <a:t>In-situ lermembran i </a:t>
            </a:r>
            <a:r>
              <a:rPr lang="da-DK" dirty="0" err="1"/>
              <a:t>naturler</a:t>
            </a:r>
            <a:r>
              <a:rPr lang="da-DK" dirty="0"/>
              <a:t> (regulering og homogenisering) – Bedst ift. økonomi og bæredygtighed</a:t>
            </a:r>
          </a:p>
          <a:p>
            <a:pPr marL="342900" indent="-342900">
              <a:buFont typeface="+mj-lt"/>
              <a:buAutoNum type="alphaLcParenR"/>
            </a:pPr>
            <a:r>
              <a:rPr lang="da-DK" dirty="0"/>
              <a:t>Udlagt lermembran i </a:t>
            </a:r>
            <a:r>
              <a:rPr lang="da-DK" dirty="0" err="1"/>
              <a:t>naturler</a:t>
            </a:r>
            <a:r>
              <a:rPr lang="da-DK" dirty="0"/>
              <a:t> (udlægning og homogenisering i lag)</a:t>
            </a:r>
          </a:p>
          <a:p>
            <a:pPr marL="342900" indent="-342900">
              <a:buFont typeface="+mj-lt"/>
              <a:buAutoNum type="alphaLcParenR"/>
            </a:pPr>
            <a:r>
              <a:rPr lang="da-DK" dirty="0"/>
              <a:t>Bentonitmåtter (</a:t>
            </a:r>
            <a:r>
              <a:rPr lang="da-DK" dirty="0" err="1"/>
              <a:t>betonitler</a:t>
            </a:r>
            <a:r>
              <a:rPr lang="da-DK" dirty="0"/>
              <a:t> og geotekstiler) – OBS på supplerende krav til opbygning</a:t>
            </a:r>
          </a:p>
          <a:p>
            <a:pPr marL="342900" indent="-342900">
              <a:buFont typeface="+mj-lt"/>
              <a:buAutoNum type="alphaLcParenR"/>
            </a:pPr>
            <a:r>
              <a:rPr lang="da-DK" dirty="0"/>
              <a:t>Polymermembraner i ”plast eller gummi” – OBS på supplerende krav til opbygning </a:t>
            </a:r>
          </a:p>
          <a:p>
            <a:r>
              <a:rPr lang="da-DK" dirty="0"/>
              <a:t>I enkelte tilfælde kan bassin etableres uden membran i direkte sammenhæng med grundvandsspejlet</a:t>
            </a:r>
          </a:p>
          <a:p>
            <a:r>
              <a:rPr lang="da-DK" dirty="0"/>
              <a:t>Bedste branche-standard: DS/INF 466 – Membraner til deponeringsanlæg (OBS på gyldighedsområdet)</a:t>
            </a:r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</p:txBody>
      </p:sp>
      <p:pic>
        <p:nvPicPr>
          <p:cNvPr id="6" name="Picture 5" descr="A muddy area with trees in the background&#10;&#10;AI-generated content may be incorrect.">
            <a:extLst>
              <a:ext uri="{FF2B5EF4-FFF2-40B4-BE49-F238E27FC236}">
                <a16:creationId xmlns:a16="http://schemas.microsoft.com/office/drawing/2014/main" id="{CB6ABE37-5EA5-AE20-963E-84DE3F215BE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823" y="3543299"/>
            <a:ext cx="4300035" cy="3226693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 descr="A construction site with a crane&#10;&#10;AI-generated content may be incorrect.">
            <a:extLst>
              <a:ext uri="{FF2B5EF4-FFF2-40B4-BE49-F238E27FC236}">
                <a16:creationId xmlns:a16="http://schemas.microsoft.com/office/drawing/2014/main" id="{274677F1-1E4D-117F-7E97-AF469E9101D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28" b="13729"/>
          <a:stretch>
            <a:fillRect/>
          </a:stretch>
        </p:blipFill>
        <p:spPr bwMode="auto">
          <a:xfrm>
            <a:off x="5108843" y="3543300"/>
            <a:ext cx="5412419" cy="3226693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40003196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C62514-A6C1-C867-BEC6-F3756CAD7C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468001"/>
            <a:ext cx="11473200" cy="533374"/>
          </a:xfrm>
        </p:spPr>
        <p:txBody>
          <a:bodyPr anchor="t">
            <a:normAutofit/>
          </a:bodyPr>
          <a:lstStyle/>
          <a:p>
            <a:r>
              <a:rPr lang="da-DK" dirty="0"/>
              <a:t>Membran-egenskaber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561B48D4-D409-023A-1ACE-E7838977B1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8150" y="1001374"/>
            <a:ext cx="11394450" cy="369332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95A05C-542D-5E17-8DD7-AFA47A9AC0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24C8C45C-947F-4981-8B3F-4F32E973C901}" type="slidenum">
              <a:rPr lang="da-DK" smtClean="0"/>
              <a:pPr>
                <a:spcAft>
                  <a:spcPts val="600"/>
                </a:spcAft>
              </a:pPr>
              <a:t>16</a:t>
            </a:fld>
            <a:endParaRPr lang="da-DK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FAA9348-C8D7-0280-94D2-16D4A7E74E7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6306"/>
          <a:stretch>
            <a:fillRect/>
          </a:stretch>
        </p:blipFill>
        <p:spPr>
          <a:xfrm>
            <a:off x="641468" y="1383525"/>
            <a:ext cx="5523109" cy="5357417"/>
          </a:xfrm>
          <a:prstGeom prst="rect">
            <a:avLst/>
          </a:prstGeom>
          <a:noFill/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7D6B51E-A987-7DE1-61DD-20D2673B1B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70638" y="1511300"/>
            <a:ext cx="5461000" cy="4648200"/>
          </a:xfrm>
        </p:spPr>
        <p:txBody>
          <a:bodyPr vert="horz" lIns="72000" tIns="36000" rIns="72000" bIns="36000" rtlCol="0" anchor="t">
            <a:normAutofit/>
          </a:bodyPr>
          <a:lstStyle/>
          <a:p>
            <a:r>
              <a:rPr lang="da-DK" dirty="0"/>
              <a:t>DS466 er udarbejdet til affaldsdeponering, ikke </a:t>
            </a:r>
            <a:r>
              <a:rPr lang="da-DK"/>
              <a:t>til sediment fra overfladevand</a:t>
            </a:r>
            <a:endParaRPr lang="da-DK" dirty="0"/>
          </a:p>
          <a:p>
            <a:r>
              <a:rPr lang="da-DK" dirty="0"/>
              <a:t>Skala fra 0 til 3</a:t>
            </a:r>
          </a:p>
          <a:p>
            <a:r>
              <a:rPr lang="da-DK" dirty="0"/>
              <a:t>0: ”uegnet”</a:t>
            </a:r>
          </a:p>
          <a:p>
            <a:r>
              <a:rPr lang="da-DK" dirty="0"/>
              <a:t>1-3: hhv. dårligst og bedst karakter</a:t>
            </a:r>
          </a:p>
        </p:txBody>
      </p:sp>
    </p:spTree>
    <p:extLst>
      <p:ext uri="{BB962C8B-B14F-4D97-AF65-F5344CB8AC3E}">
        <p14:creationId xmlns:p14="http://schemas.microsoft.com/office/powerpoint/2010/main" val="38601840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972F8-C483-BFCB-0691-A5A9DFF7D5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468001"/>
            <a:ext cx="11473200" cy="533374"/>
          </a:xfrm>
        </p:spPr>
        <p:txBody>
          <a:bodyPr anchor="ctr">
            <a:normAutofit/>
          </a:bodyPr>
          <a:lstStyle/>
          <a:p>
            <a:r>
              <a:rPr lang="da-DK" dirty="0"/>
              <a:t>Ler-membraner</a:t>
            </a:r>
          </a:p>
        </p:txBody>
      </p:sp>
      <p:sp>
        <p:nvSpPr>
          <p:cNvPr id="3080" name="Subtitle 2">
            <a:extLst>
              <a:ext uri="{FF2B5EF4-FFF2-40B4-BE49-F238E27FC236}">
                <a16:creationId xmlns:a16="http://schemas.microsoft.com/office/drawing/2014/main" id="{369B2A0A-40D4-EDBD-3013-AEF142A00F91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438150" y="1001374"/>
            <a:ext cx="11394450" cy="369332"/>
          </a:xfrm>
        </p:spPr>
        <p:txBody>
          <a:bodyPr/>
          <a:lstStyle/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CBF1C1C-D689-5912-4DEA-04996DCFF51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60000" y="1512000"/>
            <a:ext cx="7897890" cy="4647600"/>
          </a:xfrm>
        </p:spPr>
        <p:txBody>
          <a:bodyPr vert="horz" lIns="72000" tIns="36000" rIns="72000" bIns="36000" rtlCol="0" anchor="t">
            <a:normAutofit/>
          </a:bodyPr>
          <a:lstStyle/>
          <a:p>
            <a:r>
              <a:rPr lang="da-DK"/>
              <a:t>Egnethed baseret på forundersøgelser:</a:t>
            </a:r>
            <a:endParaRPr lang="da-DK" dirty="0"/>
          </a:p>
          <a:p>
            <a:pPr marL="568325" lvl="1">
              <a:buFont typeface="Courier New" panose="02070309020205020404" pitchFamily="49" charset="0"/>
              <a:buChar char="o"/>
            </a:pPr>
            <a:r>
              <a:rPr lang="da-DK"/>
              <a:t>Egnet: </a:t>
            </a:r>
            <a:r>
              <a:rPr lang="da-DK" err="1"/>
              <a:t>lerindhold</a:t>
            </a:r>
            <a:r>
              <a:rPr lang="da-DK" dirty="0"/>
              <a:t> L &gt; 14% og plasticitetsindeks I</a:t>
            </a:r>
            <a:r>
              <a:rPr lang="da-DK" baseline="-25000" dirty="0"/>
              <a:t>p</a:t>
            </a:r>
            <a:r>
              <a:rPr lang="da-DK" dirty="0"/>
              <a:t> &gt; 5% (k &lt; 10</a:t>
            </a:r>
            <a:r>
              <a:rPr lang="da-DK" baseline="30000" dirty="0"/>
              <a:t>-10</a:t>
            </a:r>
            <a:r>
              <a:rPr lang="da-DK" dirty="0"/>
              <a:t> m/s)</a:t>
            </a:r>
            <a:endParaRPr lang="da-DK" dirty="0">
              <a:cs typeface="Segoe UI"/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da-DK" dirty="0"/>
              <a:t>Grænseområde: ler-indhold, L &gt; 10 %, og et plasticitetsindeks, Ip &gt; 4 %, ”tæt” membran, såfremt der er fokus i udførelsen på homogenisering og komprimering</a:t>
            </a:r>
          </a:p>
          <a:p>
            <a:r>
              <a:rPr lang="da-DK" dirty="0"/>
              <a:t>Overfladen i våde bassiner </a:t>
            </a:r>
            <a:r>
              <a:rPr lang="da-DK" err="1"/>
              <a:t>klogger</a:t>
            </a:r>
            <a:r>
              <a:rPr lang="da-DK" dirty="0"/>
              <a:t> relativt hurtigt</a:t>
            </a:r>
          </a:p>
          <a:p>
            <a:r>
              <a:rPr lang="da-DK" dirty="0"/>
              <a:t>OBS meget omfattende ”kontrol- og tilsynsregime” i DS466 for alle membrantyper (</a:t>
            </a:r>
            <a:r>
              <a:rPr lang="da-DK" i="1" dirty="0"/>
              <a:t>skærpet kontrol</a:t>
            </a:r>
            <a:r>
              <a:rPr lang="da-DK" dirty="0"/>
              <a:t>). Mindre kan nok gøre det.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a-DK" dirty="0"/>
              <a:t>Risikovurdering i relation til grundvandsressourcen og beskyttelse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a-DK" dirty="0"/>
              <a:t>Vilkår i udledningstilladelse om egenkontrol og evt. dokumentation af permanent vandspejl indenfor det første år? (</a:t>
            </a:r>
            <a:r>
              <a:rPr lang="da-DK" i="1" dirty="0"/>
              <a:t>visuel kontrol eller målere</a:t>
            </a:r>
            <a:r>
              <a:rPr lang="da-DK" dirty="0"/>
              <a:t>)</a:t>
            </a:r>
          </a:p>
          <a:p>
            <a:r>
              <a:rPr lang="da-DK" dirty="0"/>
              <a:t>OBS på sætningsgivende aflejringer (”blødbund”)</a:t>
            </a:r>
          </a:p>
          <a:p>
            <a:pPr marL="568325" lvl="1">
              <a:buFont typeface="Courier New" panose="02070309020205020404" pitchFamily="49" charset="0"/>
              <a:buChar char="o"/>
            </a:pPr>
            <a:r>
              <a:rPr lang="da-DK" dirty="0"/>
              <a:t>Bygbarhed og </a:t>
            </a:r>
            <a:r>
              <a:rPr lang="da-DK" err="1"/>
              <a:t>driftbarhed</a:t>
            </a:r>
            <a:r>
              <a:rPr lang="da-DK" dirty="0"/>
              <a:t> </a:t>
            </a:r>
            <a:endParaRPr lang="da-DK" dirty="0">
              <a:cs typeface="Segoe UI"/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da-DK" dirty="0"/>
              <a:t>Sætninger, fleksibilitet og brud</a:t>
            </a:r>
          </a:p>
          <a:p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A63559-923E-B423-1589-1377ACA8C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24C8C45C-947F-4981-8B3F-4F32E973C901}" type="slidenum">
              <a:rPr lang="da-DK" smtClean="0"/>
              <a:pPr>
                <a:spcAft>
                  <a:spcPts val="600"/>
                </a:spcAft>
              </a:pPr>
              <a:t>17</a:t>
            </a:fld>
            <a:endParaRPr lang="da-DK"/>
          </a:p>
        </p:txBody>
      </p:sp>
      <p:pic>
        <p:nvPicPr>
          <p:cNvPr id="3075" name="Picture 3">
            <a:extLst>
              <a:ext uri="{FF2B5EF4-FFF2-40B4-BE49-F238E27FC236}">
                <a16:creationId xmlns:a16="http://schemas.microsoft.com/office/drawing/2014/main" id="{BBD221DE-5FCD-59EE-4316-175569B397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94"/>
          <a:stretch>
            <a:fillRect/>
          </a:stretch>
        </p:blipFill>
        <p:spPr bwMode="auto">
          <a:xfrm>
            <a:off x="8448390" y="1512000"/>
            <a:ext cx="3384809" cy="4647600"/>
          </a:xfrm>
          <a:prstGeom prst="rect">
            <a:avLst/>
          </a:prstGeom>
          <a:solidFill>
            <a:srgbClr val="FFFFFF"/>
          </a:solidFill>
          <a:ln w="19050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8506048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36A860-914A-AA50-99ED-1E09E1591B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C5F73E7B-21F5-514D-B1F8-205EC701B1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967692"/>
            <a:ext cx="11506199" cy="972000"/>
          </a:xfrm>
        </p:spPr>
        <p:txBody>
          <a:bodyPr/>
          <a:lstStyle/>
          <a:p>
            <a:r>
              <a:rPr lang="da-DK"/>
              <a:t>Bæredygtighed – CO</a:t>
            </a:r>
            <a:r>
              <a:rPr lang="da-DK" baseline="-25000"/>
              <a:t>2</a:t>
            </a:r>
            <a:r>
              <a:rPr lang="da-DK"/>
              <a:t>-reduktioner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754F3839-A0BB-1DFB-BF76-1AE3158569B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24813" y="1724078"/>
            <a:ext cx="3513194" cy="4532343"/>
          </a:xfrm>
        </p:spPr>
        <p:txBody>
          <a:bodyPr vert="horz" wrap="square" lIns="0" tIns="0" rIns="0" bIns="0" rtlCol="0" anchor="t">
            <a:noAutofit/>
          </a:bodyPr>
          <a:lstStyle/>
          <a:p>
            <a:pPr marL="179705" indent="-179705"/>
            <a:r>
              <a:rPr lang="da-DK" sz="1400"/>
              <a:t>Overblik over optimeringsmuligheder med afsæt i principperne fra Handlingscirklen, fx:</a:t>
            </a:r>
            <a:endParaRPr lang="en-US">
              <a:cs typeface="Arial" panose="020B0604020202020204"/>
            </a:endParaRPr>
          </a:p>
          <a:p>
            <a:pPr marL="359410" lvl="1" indent="-179705"/>
            <a:r>
              <a:rPr lang="da-DK" sz="1400"/>
              <a:t>Udskyd hele eller dele af anlægsprojekter, så de kan anlægges med lavere CO</a:t>
            </a:r>
            <a:r>
              <a:rPr lang="da-DK" sz="1400" baseline="-25000"/>
              <a:t>2</a:t>
            </a:r>
            <a:r>
              <a:rPr lang="da-DK" sz="1400"/>
              <a:t>-aftryk i fremtiden</a:t>
            </a:r>
            <a:endParaRPr lang="da-DK" sz="1400">
              <a:cs typeface="Arial" panose="020B0604020202020204"/>
            </a:endParaRPr>
          </a:p>
          <a:p>
            <a:pPr marL="359410" lvl="1" indent="-179705"/>
            <a:r>
              <a:rPr lang="da-DK" sz="1400"/>
              <a:t>Forsink vand lokalt i oplandet</a:t>
            </a:r>
            <a:endParaRPr lang="da-DK" sz="1400">
              <a:cs typeface="Arial" panose="020B0604020202020204"/>
            </a:endParaRPr>
          </a:p>
          <a:p>
            <a:pPr marL="359410" lvl="1" indent="-179705"/>
            <a:r>
              <a:rPr lang="da-DK" sz="1400"/>
              <a:t>Kun etablere det bassinvolumen, der er brug for nu med mulighed for at udbygge anlægget senere, hvis eller når der bliver behov </a:t>
            </a:r>
            <a:endParaRPr lang="da-DK" sz="1400">
              <a:cs typeface="Arial" panose="020B0604020202020204"/>
            </a:endParaRPr>
          </a:p>
          <a:p>
            <a:pPr marL="359410" lvl="1" indent="-179705"/>
            <a:r>
              <a:rPr lang="da-DK" sz="1400"/>
              <a:t>Indtænk areal til </a:t>
            </a:r>
            <a:r>
              <a:rPr lang="da-DK" sz="1400" err="1"/>
              <a:t>afdræning</a:t>
            </a:r>
            <a:r>
              <a:rPr lang="da-DK" sz="1400"/>
              <a:t> af sediment </a:t>
            </a:r>
            <a:endParaRPr lang="da-DK" sz="1400">
              <a:cs typeface="Arial"/>
            </a:endParaRPr>
          </a:p>
          <a:p>
            <a:pPr marL="359410" lvl="1" indent="-179705"/>
            <a:r>
              <a:rPr lang="da-DK" sz="1400"/>
              <a:t>Undgå membran i bassinet</a:t>
            </a:r>
            <a:endParaRPr lang="da-DK" sz="1400">
              <a:cs typeface="Arial"/>
            </a:endParaRPr>
          </a:p>
          <a:p>
            <a:pPr lvl="1"/>
            <a:endParaRPr lang="da-DK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B82E17-E9C7-307D-AF1E-25E3EF40FB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05327" y="6407378"/>
            <a:ext cx="643773" cy="107722"/>
          </a:xfrm>
        </p:spPr>
        <p:txBody>
          <a:bodyPr/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D568E7-61F5-D04E-995D-81EF41C01A2A}" type="slidenum">
              <a:rPr kumimoji="0" lang="da-DK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a-DK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91A331-DB8D-EF22-82CB-B3933E5F93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42900" y="6407378"/>
            <a:ext cx="5732298" cy="107722"/>
          </a:xfrm>
        </p:spPr>
        <p:txBody>
          <a:bodyPr/>
          <a:lstStyle/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SP | Footer goes here | Date</a:t>
            </a:r>
          </a:p>
        </p:txBody>
      </p:sp>
      <p:pic>
        <p:nvPicPr>
          <p:cNvPr id="2" name="Billede 1" descr="Et billede, der indeholder tekst, diagram, skærmbillede, Font/skrifttype&#10;&#10;AI-genereret indhold kan være ukorrekt.">
            <a:extLst>
              <a:ext uri="{FF2B5EF4-FFF2-40B4-BE49-F238E27FC236}">
                <a16:creationId xmlns:a16="http://schemas.microsoft.com/office/drawing/2014/main" id="{F5C61753-816C-59EC-1880-9CA16FD16FB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21519" b="-211"/>
          <a:stretch>
            <a:fillRect/>
          </a:stretch>
        </p:blipFill>
        <p:spPr>
          <a:xfrm>
            <a:off x="4121175" y="2332880"/>
            <a:ext cx="8075049" cy="3306743"/>
          </a:xfrm>
          <a:prstGeom prst="rect">
            <a:avLst/>
          </a:prstGeom>
        </p:spPr>
      </p:pic>
      <p:pic>
        <p:nvPicPr>
          <p:cNvPr id="3" name="Billede 1" descr="Et billede, der indeholder tekst, diagram, skærmbillede, Font/skrifttype&#10;&#10;AI-genereret indhold kan være ukorrekt.">
            <a:extLst>
              <a:ext uri="{FF2B5EF4-FFF2-40B4-BE49-F238E27FC236}">
                <a16:creationId xmlns:a16="http://schemas.microsoft.com/office/drawing/2014/main" id="{4F0A2038-470B-D045-CF1B-F4AC8F54E88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9917" t="1131" b="90950"/>
          <a:stretch>
            <a:fillRect/>
          </a:stretch>
        </p:blipFill>
        <p:spPr>
          <a:xfrm>
            <a:off x="4578374" y="1942354"/>
            <a:ext cx="7274222" cy="332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9908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F048B7-AF89-B559-592B-E09E640BF0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2F42C3D-3A2C-1DA2-36CA-6C8B7A8D12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0783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0" progId="TCLayout.ActiveDocument.1">
                  <p:embed/>
                </p:oleObj>
              </mc:Choice>
              <mc:Fallback>
                <p:oleObj name="think-cell Slide" r:id="rId3" imgW="530" imgH="53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F42C3D-3A2C-1DA2-36CA-6C8B7A8D12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23">
            <a:extLst>
              <a:ext uri="{FF2B5EF4-FFF2-40B4-BE49-F238E27FC236}">
                <a16:creationId xmlns:a16="http://schemas.microsoft.com/office/drawing/2014/main" id="{CFB62508-1D76-8772-CD4C-4E8D68E380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Opgavebeskrivelse </a:t>
            </a:r>
            <a:endParaRPr lang="da-DK">
              <a:cs typeface="Segoe UI Light"/>
            </a:endParaRPr>
          </a:p>
        </p:txBody>
      </p:sp>
      <p:sp>
        <p:nvSpPr>
          <p:cNvPr id="25" name="Subtitle 24">
            <a:extLst>
              <a:ext uri="{FF2B5EF4-FFF2-40B4-BE49-F238E27FC236}">
                <a16:creationId xmlns:a16="http://schemas.microsoft.com/office/drawing/2014/main" id="{8641473F-3F48-1876-069D-F3D02FF4392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buNone/>
            </a:pPr>
            <a:endParaRPr lang="da-DK"/>
          </a:p>
          <a:p>
            <a:pPr>
              <a:buNone/>
            </a:pPr>
            <a:endParaRPr lang="da-DK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FDBB4E53-E549-CF72-8776-90D51B5848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8150" y="1295294"/>
            <a:ext cx="11394449" cy="5562706"/>
          </a:xfr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da-DK" dirty="0"/>
              <a:t>Udformningen af bassiner</a:t>
            </a:r>
          </a:p>
          <a:p>
            <a:pPr marL="568325" lvl="1"/>
            <a:r>
              <a:rPr lang="da-DK" dirty="0"/>
              <a:t>Udformning af alternative design</a:t>
            </a:r>
            <a:endParaRPr lang="da-DK" dirty="0">
              <a:cs typeface="Segoe UI"/>
            </a:endParaRPr>
          </a:p>
          <a:p>
            <a:pPr marL="568325" lvl="1"/>
            <a:r>
              <a:rPr lang="da-DK" dirty="0"/>
              <a:t>Formålet og behovet for </a:t>
            </a:r>
            <a:r>
              <a:rPr lang="da-DK" dirty="0" err="1"/>
              <a:t>forbassiner</a:t>
            </a:r>
            <a:endParaRPr lang="da-DK" dirty="0">
              <a:cs typeface="Segoe UI"/>
            </a:endParaRPr>
          </a:p>
          <a:p>
            <a:pPr marL="568325" lvl="1"/>
            <a:r>
              <a:rPr lang="da-DK" dirty="0"/>
              <a:t>Dybden af det permanent våde volumen</a:t>
            </a:r>
            <a:endParaRPr lang="da-DK" dirty="0">
              <a:cs typeface="Segoe UI"/>
            </a:endParaRPr>
          </a:p>
          <a:p>
            <a:pPr marL="568325" lvl="1"/>
            <a:r>
              <a:rPr lang="da-DK" dirty="0"/>
              <a:t>Olieudskillere ifm. våde regnvandsbassiner</a:t>
            </a:r>
            <a:endParaRPr lang="da-DK" dirty="0">
              <a:cs typeface="Segoe UI"/>
            </a:endParaRPr>
          </a:p>
          <a:p>
            <a:r>
              <a:rPr lang="da-DK" dirty="0"/>
              <a:t>Materialevalg</a:t>
            </a:r>
          </a:p>
          <a:p>
            <a:pPr marL="568325" lvl="1"/>
            <a:r>
              <a:rPr lang="da-DK" dirty="0"/>
              <a:t>Membraner</a:t>
            </a:r>
            <a:endParaRPr lang="da-DK" dirty="0">
              <a:cs typeface="Segoe UI"/>
            </a:endParaRPr>
          </a:p>
          <a:p>
            <a:pPr marL="568325" lvl="1"/>
            <a:r>
              <a:rPr lang="da-DK" dirty="0"/>
              <a:t>Udfordringer med højtstående grundvand</a:t>
            </a:r>
            <a:endParaRPr lang="da-DK" dirty="0">
              <a:cs typeface="Segoe UI"/>
            </a:endParaRPr>
          </a:p>
          <a:p>
            <a:r>
              <a:rPr lang="da-DK" dirty="0"/>
              <a:t>CO2-reduktion og biodiversitet</a:t>
            </a:r>
          </a:p>
          <a:p>
            <a:r>
              <a:rPr lang="da-DK" dirty="0"/>
              <a:t>Arbejdsmiljøhensyn i designfasen</a:t>
            </a:r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r>
              <a:rPr lang="da-DK" dirty="0"/>
              <a:t>Datagrundlag:</a:t>
            </a:r>
          </a:p>
          <a:p>
            <a:r>
              <a:rPr lang="da-DK" dirty="0"/>
              <a:t>Danske og udenlandske guidelines og branchestandarder (Sverige, USA, UK og AU)</a:t>
            </a:r>
          </a:p>
          <a:p>
            <a:r>
              <a:rPr lang="da-DK" dirty="0"/>
              <a:t>Studier og forskning</a:t>
            </a:r>
          </a:p>
          <a:p>
            <a:r>
              <a:rPr lang="da-DK" dirty="0"/>
              <a:t>Erfaringer fra praksis (ikke systematisk indsamlet) og </a:t>
            </a:r>
            <a:r>
              <a:rPr lang="da-DK" dirty="0" err="1"/>
              <a:t>StormTac</a:t>
            </a:r>
            <a:endParaRPr lang="da-DK" dirty="0"/>
          </a:p>
          <a:p>
            <a:endParaRPr lang="da-DK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93E1338-7669-83E8-CDB0-6526325FF5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15000" y="0"/>
            <a:ext cx="6477000" cy="4895850"/>
          </a:xfrm>
          <a:prstGeom prst="rect">
            <a:avLst/>
          </a:prstGeom>
        </p:spPr>
      </p:pic>
      <p:pic>
        <p:nvPicPr>
          <p:cNvPr id="4" name="Billede 3">
            <a:extLst>
              <a:ext uri="{FF2B5EF4-FFF2-40B4-BE49-F238E27FC236}">
                <a16:creationId xmlns:a16="http://schemas.microsoft.com/office/drawing/2014/main" id="{4CE64FCA-2715-DEBE-34AF-828EE381969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95932" y="6355909"/>
            <a:ext cx="994241" cy="662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6572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20F291E-E955-2FE4-B8C5-531C2F946B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4BBF5B8-7222-A02D-9636-4AF23424F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468001"/>
            <a:ext cx="6978506" cy="533374"/>
          </a:xfrm>
          <a:solidFill>
            <a:srgbClr val="FFFFFF">
              <a:alpha val="50000"/>
            </a:srgbClr>
          </a:solidFill>
        </p:spPr>
        <p:txBody>
          <a:bodyPr/>
          <a:lstStyle/>
          <a:p>
            <a:r>
              <a:rPr lang="en-US" dirty="0">
                <a:cs typeface="Segoe UI Light"/>
              </a:rPr>
              <a:t>Dette </a:t>
            </a:r>
            <a:r>
              <a:rPr lang="en-US" dirty="0" err="1">
                <a:cs typeface="Segoe UI Light"/>
              </a:rPr>
              <a:t>oplæg</a:t>
            </a:r>
            <a:r>
              <a:rPr lang="en-US" dirty="0">
                <a:cs typeface="Segoe UI Light"/>
              </a:rPr>
              <a:t> 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CE99BF-D007-030F-17E4-70BFF3A3B9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3</a:t>
            </a:fld>
            <a:endParaRPr lang="da-DK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A8A74FB-D59E-2779-EFDD-4CF9A94960C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61768" y="1003300"/>
            <a:ext cx="6983179" cy="1423505"/>
          </a:xfrm>
          <a:solidFill>
            <a:srgbClr val="FFFFFF">
              <a:alpha val="50000"/>
            </a:srgbClr>
          </a:solidFill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 err="1">
                <a:cs typeface="Segoe UI"/>
              </a:rPr>
              <a:t>Udformning</a:t>
            </a:r>
            <a:r>
              <a:rPr lang="en-US" dirty="0">
                <a:cs typeface="Segoe UI"/>
              </a:rPr>
              <a:t> </a:t>
            </a:r>
            <a:r>
              <a:rPr lang="en-US" dirty="0" err="1">
                <a:cs typeface="Segoe UI"/>
              </a:rPr>
              <a:t>af</a:t>
            </a:r>
            <a:r>
              <a:rPr lang="en-US" dirty="0">
                <a:cs typeface="Segoe UI"/>
              </a:rPr>
              <a:t> </a:t>
            </a:r>
            <a:r>
              <a:rPr lang="en-US" dirty="0" err="1">
                <a:cs typeface="Segoe UI"/>
              </a:rPr>
              <a:t>regnvandsbassiner</a:t>
            </a:r>
            <a:r>
              <a:rPr lang="en-US" dirty="0">
                <a:cs typeface="Segoe UI"/>
              </a:rPr>
              <a:t> - </a:t>
            </a:r>
            <a:r>
              <a:rPr lang="en-US" dirty="0" err="1">
                <a:cs typeface="Segoe UI"/>
              </a:rPr>
              <a:t>hvad</a:t>
            </a:r>
            <a:r>
              <a:rPr lang="en-US" dirty="0">
                <a:cs typeface="Segoe UI"/>
              </a:rPr>
              <a:t> </a:t>
            </a:r>
            <a:r>
              <a:rPr lang="en-US" dirty="0" err="1">
                <a:cs typeface="Segoe UI"/>
              </a:rPr>
              <a:t>har</a:t>
            </a:r>
            <a:r>
              <a:rPr lang="en-US" dirty="0">
                <a:cs typeface="Segoe UI"/>
              </a:rPr>
              <a:t> </a:t>
            </a:r>
            <a:r>
              <a:rPr lang="en-US" dirty="0" err="1">
                <a:cs typeface="Segoe UI"/>
              </a:rPr>
              <a:t>betydning</a:t>
            </a:r>
            <a:r>
              <a:rPr lang="en-US" dirty="0">
                <a:cs typeface="Segoe UI"/>
              </a:rPr>
              <a:t> for </a:t>
            </a:r>
            <a:r>
              <a:rPr lang="en-US" dirty="0" err="1">
                <a:cs typeface="Segoe UI"/>
              </a:rPr>
              <a:t>renseeffekten</a:t>
            </a:r>
            <a:endParaRPr lang="en-US" dirty="0">
              <a:cs typeface="Segoe UI"/>
            </a:endParaRPr>
          </a:p>
          <a:p>
            <a:r>
              <a:rPr lang="en-US" dirty="0">
                <a:cs typeface="Segoe UI"/>
              </a:rPr>
              <a:t>For-</a:t>
            </a:r>
            <a:r>
              <a:rPr lang="en-US" dirty="0" err="1">
                <a:cs typeface="Segoe UI"/>
              </a:rPr>
              <a:t>rensning</a:t>
            </a:r>
            <a:r>
              <a:rPr lang="en-US" dirty="0">
                <a:cs typeface="Segoe UI"/>
              </a:rPr>
              <a:t> og </a:t>
            </a:r>
            <a:r>
              <a:rPr lang="en-US" dirty="0" err="1">
                <a:cs typeface="Segoe UI"/>
              </a:rPr>
              <a:t>sandfang</a:t>
            </a:r>
            <a:r>
              <a:rPr lang="en-US" dirty="0">
                <a:cs typeface="Segoe UI"/>
              </a:rPr>
              <a:t> - </a:t>
            </a:r>
            <a:r>
              <a:rPr lang="en-US" dirty="0" err="1">
                <a:cs typeface="Segoe UI"/>
              </a:rPr>
              <a:t>metoder</a:t>
            </a:r>
            <a:r>
              <a:rPr lang="en-US" dirty="0">
                <a:cs typeface="Segoe UI"/>
              </a:rPr>
              <a:t>, </a:t>
            </a:r>
            <a:r>
              <a:rPr lang="en-US" dirty="0" err="1">
                <a:cs typeface="Segoe UI"/>
              </a:rPr>
              <a:t>dimensionering</a:t>
            </a:r>
            <a:r>
              <a:rPr lang="en-US" dirty="0">
                <a:cs typeface="Segoe UI"/>
              </a:rPr>
              <a:t> og drift</a:t>
            </a:r>
          </a:p>
          <a:p>
            <a:r>
              <a:rPr lang="en-US" dirty="0">
                <a:cs typeface="Segoe UI"/>
              </a:rPr>
              <a:t>Membran-typer </a:t>
            </a:r>
          </a:p>
          <a:p>
            <a:r>
              <a:rPr lang="en-US" dirty="0" err="1">
                <a:cs typeface="Segoe UI"/>
              </a:rPr>
              <a:t>Bæredygtighed</a:t>
            </a:r>
            <a:r>
              <a:rPr lang="en-US" dirty="0">
                <a:cs typeface="Segoe UI"/>
              </a:rPr>
              <a:t> </a:t>
            </a:r>
          </a:p>
          <a:p>
            <a:endParaRPr lang="en-US" dirty="0">
              <a:cs typeface="Segoe UI"/>
            </a:endParaRPr>
          </a:p>
          <a:p>
            <a:endParaRPr lang="en-US" dirty="0">
              <a:cs typeface="Segoe UI"/>
            </a:endParaRPr>
          </a:p>
          <a:p>
            <a:pPr marL="0" indent="0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None/>
            </a:pPr>
            <a:endParaRPr lang="en-US" dirty="0">
              <a:cs typeface="Segoe UI"/>
            </a:endParaRPr>
          </a:p>
          <a:p>
            <a:endParaRPr lang="en-US" dirty="0">
              <a:cs typeface="Segoe UI"/>
            </a:endParaRPr>
          </a:p>
          <a:p>
            <a:endParaRPr lang="en-US" dirty="0">
              <a:cs typeface="Segoe UI"/>
            </a:endParaRPr>
          </a:p>
        </p:txBody>
      </p:sp>
      <p:pic>
        <p:nvPicPr>
          <p:cNvPr id="3" name="Graphic 10">
            <a:extLst>
              <a:ext uri="{FF2B5EF4-FFF2-40B4-BE49-F238E27FC236}">
                <a16:creationId xmlns:a16="http://schemas.microsoft.com/office/drawing/2014/main" id="{B4B91DCB-62BA-3BC4-53C6-8041E052534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98640" y="6241489"/>
            <a:ext cx="1080000" cy="341053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6509C221-247F-54AE-33A5-0F04A9522BA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17696" y="6189863"/>
            <a:ext cx="1080944" cy="720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2491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CF453A-1643-1D5E-DCA5-E1D40F477B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Udformning af bassiner – hvad har betydning?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7C9BD12-B97D-07E9-0363-5E19C4356D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8457" y="2542876"/>
            <a:ext cx="11503025" cy="3759055"/>
          </a:xfrm>
        </p:spPr>
        <p:txBody>
          <a:bodyPr vert="horz" wrap="square" lIns="0" tIns="0" rIns="0" bIns="0" rtlCol="0" anchor="t">
            <a:noAutofit/>
          </a:bodyPr>
          <a:lstStyle/>
          <a:p>
            <a:pPr marL="0" indent="0">
              <a:buNone/>
            </a:pPr>
            <a:r>
              <a:rPr lang="da-DK" sz="2000" b="1">
                <a:solidFill>
                  <a:srgbClr val="000000"/>
                </a:solidFill>
                <a:cs typeface="Arial"/>
              </a:rPr>
              <a:t>Parametre</a:t>
            </a:r>
            <a:endParaRPr lang="da-DK" sz="2000" b="1" dirty="0">
              <a:solidFill>
                <a:srgbClr val="000000"/>
              </a:solidFill>
              <a:cs typeface="Arial"/>
            </a:endParaRPr>
          </a:p>
          <a:p>
            <a:pPr marL="179705" indent="-179705">
              <a:buFont typeface="Wingdings"/>
              <a:buChar char="§"/>
            </a:pPr>
            <a:r>
              <a:rPr lang="da-DK" sz="1600">
                <a:cs typeface="Arial"/>
              </a:rPr>
              <a:t>Størrelse på vådvolumen (volumen og areal) - 200-300 m</a:t>
            </a:r>
            <a:r>
              <a:rPr lang="da-DK" sz="1600" baseline="30000">
                <a:cs typeface="Arial"/>
              </a:rPr>
              <a:t>3</a:t>
            </a:r>
            <a:r>
              <a:rPr lang="da-DK" sz="1600">
                <a:cs typeface="Arial"/>
              </a:rPr>
              <a:t>/red. ha eller mere </a:t>
            </a:r>
            <a:endParaRPr lang="en-US" sz="1600">
              <a:solidFill>
                <a:srgbClr val="303030"/>
              </a:solidFill>
              <a:cs typeface="Arial"/>
            </a:endParaRPr>
          </a:p>
          <a:p>
            <a:pPr marL="179705" indent="-179705">
              <a:buFont typeface="Wingdings"/>
              <a:buChar char="§"/>
            </a:pPr>
            <a:r>
              <a:rPr lang="da-DK" sz="1600">
                <a:cs typeface="Arial"/>
              </a:rPr>
              <a:t>Kortslutning vs. tilbageholdelse – styres ad strukturer, barrierer og sektionering </a:t>
            </a:r>
            <a:endParaRPr lang="en-US" sz="1600">
              <a:solidFill>
                <a:srgbClr val="303030"/>
              </a:solidFill>
              <a:cs typeface="Arial"/>
            </a:endParaRPr>
          </a:p>
          <a:p>
            <a:pPr marL="179705" indent="-179705">
              <a:buFont typeface="Wingdings"/>
              <a:buChar char="§"/>
            </a:pPr>
            <a:r>
              <a:rPr lang="da-DK" sz="1600">
                <a:cs typeface="Arial"/>
              </a:rPr>
              <a:t>Opholdstid i bassinet – styres af vådvolumen, barrierer, sektionering og differentierede dybder</a:t>
            </a:r>
            <a:endParaRPr lang="en-US" sz="1600">
              <a:solidFill>
                <a:srgbClr val="303030"/>
              </a:solidFill>
              <a:cs typeface="Arial"/>
            </a:endParaRPr>
          </a:p>
          <a:p>
            <a:pPr marL="179705" indent="-179705">
              <a:buFont typeface="Wingdings"/>
              <a:buChar char="§"/>
            </a:pPr>
            <a:r>
              <a:rPr lang="da-DK" sz="1600">
                <a:cs typeface="Arial"/>
              </a:rPr>
              <a:t>Længde-breddeforhold – kvardratisk vs rektangulært </a:t>
            </a:r>
            <a:endParaRPr lang="en-US" sz="1600">
              <a:solidFill>
                <a:srgbClr val="303030"/>
              </a:solidFill>
              <a:cs typeface="Arial"/>
            </a:endParaRPr>
          </a:p>
          <a:p>
            <a:pPr marL="179705" indent="-179705">
              <a:buFont typeface="Wingdings"/>
              <a:buChar char="§"/>
            </a:pPr>
            <a:r>
              <a:rPr lang="da-DK" sz="1600">
                <a:cs typeface="Arial"/>
              </a:rPr>
              <a:t>Vindforhold – vind og resuspenseion</a:t>
            </a:r>
            <a:endParaRPr lang="da-DK" sz="1600" dirty="0">
              <a:cs typeface="Arial"/>
            </a:endParaRPr>
          </a:p>
          <a:p>
            <a:pPr marL="179705" indent="-179705">
              <a:buFont typeface="Wingdings"/>
              <a:buChar char="§"/>
            </a:pPr>
            <a:r>
              <a:rPr lang="da-DK" sz="1600">
                <a:cs typeface="Arial"/>
              </a:rPr>
              <a:t>Anlæg? </a:t>
            </a:r>
            <a:endParaRPr lang="en-US" sz="1600">
              <a:solidFill>
                <a:srgbClr val="303030"/>
              </a:solidFill>
              <a:cs typeface="Arial"/>
            </a:endParaRPr>
          </a:p>
          <a:p>
            <a:pPr marL="179705" indent="-179705">
              <a:buFont typeface="Wingdings"/>
              <a:buChar char="§"/>
            </a:pPr>
            <a:r>
              <a:rPr lang="da-DK" sz="1600">
                <a:cs typeface="Arial"/>
              </a:rPr>
              <a:t>Beplantning – vandets kontakt hermed(adsorption)? </a:t>
            </a:r>
            <a:endParaRPr lang="en-US" sz="1600">
              <a:solidFill>
                <a:srgbClr val="303030"/>
              </a:solidFill>
              <a:cs typeface="Arial"/>
            </a:endParaRPr>
          </a:p>
          <a:p>
            <a:pPr marL="179705" indent="-179705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Wingdings"/>
              <a:buChar char="§"/>
            </a:pPr>
            <a:endParaRPr lang="en-US" sz="1600" dirty="0">
              <a:solidFill>
                <a:srgbClr val="303030"/>
              </a:solidFill>
              <a:latin typeface="Segoe UI"/>
              <a:cs typeface="Segoe UI"/>
            </a:endParaRPr>
          </a:p>
          <a:p>
            <a:pPr marL="0" indent="0">
              <a:buNone/>
            </a:pPr>
            <a:endParaRPr lang="da-DK" b="1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186469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4FF4DEE-F3DF-C512-1386-68D61CDE3F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894723"/>
            <a:ext cx="11506199" cy="972000"/>
          </a:xfrm>
        </p:spPr>
        <p:txBody>
          <a:bodyPr/>
          <a:lstStyle/>
          <a:p>
            <a:r>
              <a:rPr lang="da-DK">
                <a:cs typeface="Arial"/>
              </a:rPr>
              <a:t>Undersøgelse af parametrenes betydning i StormTac</a:t>
            </a:r>
            <a:endParaRPr lang="en-US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7A2FABAE-0872-433C-6A33-9A906CF2CC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22FE8D44-0591-303E-9884-C7900CD471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477" y="1616516"/>
            <a:ext cx="10771465" cy="5244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61419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0F9686-C5E8-59BB-ABB7-CD8D416EF7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CF0EDA-0B23-41F9-9153-E9F73B7EE006}" type="slidenum">
              <a:rPr lang="da-DK" smtClean="0"/>
              <a:t>6</a:t>
            </a:fld>
            <a:endParaRPr lang="da-DK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B80BB5E6-4A3A-407F-5390-3F6AFFF7A7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8917963"/>
              </p:ext>
            </p:extLst>
          </p:nvPr>
        </p:nvGraphicFramePr>
        <p:xfrm>
          <a:off x="1589899" y="1617213"/>
          <a:ext cx="9775045" cy="4960747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381123">
                  <a:extLst>
                    <a:ext uri="{9D8B030D-6E8A-4147-A177-3AD203B41FA5}">
                      <a16:colId xmlns:a16="http://schemas.microsoft.com/office/drawing/2014/main" val="2345888107"/>
                    </a:ext>
                  </a:extLst>
                </a:gridCol>
                <a:gridCol w="1476375">
                  <a:extLst>
                    <a:ext uri="{9D8B030D-6E8A-4147-A177-3AD203B41FA5}">
                      <a16:colId xmlns:a16="http://schemas.microsoft.com/office/drawing/2014/main" val="2933944975"/>
                    </a:ext>
                  </a:extLst>
                </a:gridCol>
                <a:gridCol w="2071687">
                  <a:extLst>
                    <a:ext uri="{9D8B030D-6E8A-4147-A177-3AD203B41FA5}">
                      <a16:colId xmlns:a16="http://schemas.microsoft.com/office/drawing/2014/main" val="2149218324"/>
                    </a:ext>
                  </a:extLst>
                </a:gridCol>
                <a:gridCol w="1595437">
                  <a:extLst>
                    <a:ext uri="{9D8B030D-6E8A-4147-A177-3AD203B41FA5}">
                      <a16:colId xmlns:a16="http://schemas.microsoft.com/office/drawing/2014/main" val="1191318103"/>
                    </a:ext>
                  </a:extLst>
                </a:gridCol>
                <a:gridCol w="1676878">
                  <a:extLst>
                    <a:ext uri="{9D8B030D-6E8A-4147-A177-3AD203B41FA5}">
                      <a16:colId xmlns:a16="http://schemas.microsoft.com/office/drawing/2014/main" val="2621016894"/>
                    </a:ext>
                  </a:extLst>
                </a:gridCol>
                <a:gridCol w="1573545">
                  <a:extLst>
                    <a:ext uri="{9D8B030D-6E8A-4147-A177-3AD203B41FA5}">
                      <a16:colId xmlns:a16="http://schemas.microsoft.com/office/drawing/2014/main" val="4149788134"/>
                    </a:ext>
                  </a:extLst>
                </a:gridCol>
              </a:tblGrid>
              <a:tr h="171450">
                <a:tc rowSpan="3"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 b="1">
                          <a:effectLst/>
                          <a:latin typeface="Aptos" panose="020B0004020202020204" pitchFamily="34" charset="0"/>
                        </a:rPr>
                        <a:t>Stofparameter </a:t>
                      </a: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 b="1">
                          <a:effectLst/>
                          <a:latin typeface="Aptos" panose="020B0004020202020204" pitchFamily="34" charset="0"/>
                        </a:rPr>
                        <a:t>Rensning i "klassisk vådt bassin" [%]</a:t>
                      </a: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600" b="1">
                          <a:effectLst/>
                          <a:latin typeface="Aptos"/>
                        </a:rPr>
                        <a:t>Stigning i rensegrad ved ændring af modelinput [procentpoint]</a:t>
                      </a:r>
                      <a:r>
                        <a:rPr lang="da-DK" sz="1600">
                          <a:effectLst/>
                          <a:latin typeface="Aptos"/>
                        </a:rPr>
                        <a:t>  </a:t>
                      </a: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03152"/>
                  </a:ext>
                </a:extLst>
              </a:tr>
              <a:tr h="1714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 b="1">
                          <a:effectLst/>
                          <a:latin typeface="Aptos" panose="020B0004020202020204" pitchFamily="34" charset="0"/>
                        </a:rPr>
                        <a:t>Areal af vandspejl </a:t>
                      </a: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 b="1">
                          <a:effectLst/>
                          <a:latin typeface="Aptos" panose="020B0004020202020204" pitchFamily="34" charset="0"/>
                        </a:rPr>
                        <a:t>Længde-bredde forhold</a:t>
                      </a: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 b="1">
                          <a:effectLst/>
                          <a:latin typeface="Aptos" panose="020B0004020202020204" pitchFamily="34" charset="0"/>
                        </a:rPr>
                        <a:t>Wetland zone</a:t>
                      </a: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 b="1">
                          <a:effectLst/>
                          <a:latin typeface="Aptos" panose="020B0004020202020204" pitchFamily="34" charset="0"/>
                        </a:rPr>
                        <a:t>Forbassin</a:t>
                      </a: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3992300"/>
                  </a:ext>
                </a:extLst>
              </a:tr>
              <a:tr h="1714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Fra 250 til 350 m</a:t>
                      </a:r>
                      <a:r>
                        <a:rPr lang="da-DK" sz="850" baseline="30000">
                          <a:effectLst/>
                          <a:latin typeface="Aptos" panose="020B0004020202020204" pitchFamily="34" charset="0"/>
                        </a:rPr>
                        <a:t>2</a:t>
                      </a: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/ha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34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Fra 2:5 til 3:5 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Fra 0 til 5 meter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Fra intet forbassin til 10 m</a:t>
                      </a:r>
                      <a:r>
                        <a:rPr lang="da-DK" sz="850" baseline="30000">
                          <a:effectLst/>
                          <a:latin typeface="Aptos" panose="020B0004020202020204" pitchFamily="34" charset="0"/>
                        </a:rPr>
                        <a:t>2</a:t>
                      </a: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/ha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8695726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Fosfor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61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5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34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043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6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0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4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2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0602936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Nitrogen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29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2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043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043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3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0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12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AC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5768601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Bly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60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3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043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079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5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5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14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9FA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494832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Kobber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47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3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79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82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4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2E5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6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12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AC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6182677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Zink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66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4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82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AE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2E5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6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6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13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A6A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8658769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Cadmium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47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3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AE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C6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4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2E5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3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13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A6A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8259024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Chrom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70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5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0C6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DE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7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CED0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0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10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BAB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9299791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Nikkel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56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4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DE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0F2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2E5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5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0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11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3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1228647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Kviksølv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41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4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0F2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0A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2E5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4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2E5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3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10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BAB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294372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Suspenderet stof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78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5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0A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951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7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CED0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8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6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4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7774496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Benz(a)pyren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73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3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951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0951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7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CED0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9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C0C3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14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9FA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5895082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Pyren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72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0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0951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0A71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7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CED0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0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18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84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793310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Anthracen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70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0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0A71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0AD1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6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0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18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84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9161806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Flouranthen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66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0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0AD1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0BC1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6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0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20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77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4017130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Naphtalen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66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0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0BC1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0BC1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6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0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a-DK" sz="1100">
                          <a:effectLst/>
                          <a:latin typeface="Aptos" panose="020B0004020202020204" pitchFamily="34" charset="0"/>
                        </a:rPr>
                        <a:t>20  </a:t>
                      </a:r>
                      <a:endParaRPr lang="da-DK"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77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2290803"/>
                  </a:ext>
                </a:extLst>
              </a:tr>
            </a:tbl>
          </a:graphicData>
        </a:graphic>
      </p:graphicFrame>
      <p:sp>
        <p:nvSpPr>
          <p:cNvPr id="13" name="Titel 1">
            <a:extLst>
              <a:ext uri="{FF2B5EF4-FFF2-40B4-BE49-F238E27FC236}">
                <a16:creationId xmlns:a16="http://schemas.microsoft.com/office/drawing/2014/main" id="{3678DC91-173A-1C9C-E1AA-0871079FEE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26" y="992188"/>
            <a:ext cx="11506199" cy="972000"/>
          </a:xfrm>
        </p:spPr>
        <p:txBody>
          <a:bodyPr/>
          <a:lstStyle/>
          <a:p>
            <a:r>
              <a:rPr lang="da-DK"/>
              <a:t>Eksempel på resultater fra StormTac</a:t>
            </a:r>
          </a:p>
        </p:txBody>
      </p:sp>
    </p:spTree>
    <p:extLst>
      <p:ext uri="{BB962C8B-B14F-4D97-AF65-F5344CB8AC3E}">
        <p14:creationId xmlns:p14="http://schemas.microsoft.com/office/powerpoint/2010/main" val="27704007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144D38-7B4F-64AC-C1FF-B20294DF40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For-rensning og sandfangselementer 	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4D346DE-2104-05E3-D7E1-8684925360D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81319D-ED8C-24CF-108A-62A1D78411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7</a:t>
            </a:fld>
            <a:endParaRPr lang="da-DK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B92BC1F-F0CA-B27E-249F-5D02DD11DA6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91574" y="1511300"/>
            <a:ext cx="11444825" cy="4941887"/>
          </a:xfr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da-DK" b="1" dirty="0"/>
              <a:t>Formål</a:t>
            </a:r>
          </a:p>
          <a:p>
            <a:pPr marL="568325" lvl="1">
              <a:buFont typeface="Courier New" panose="020B0604020202020204" pitchFamily="34" charset="0"/>
              <a:buChar char="o"/>
            </a:pPr>
            <a:r>
              <a:rPr lang="da-DK" dirty="0">
                <a:cs typeface="Segoe UI"/>
              </a:rPr>
              <a:t>Driftsfunktion - Tilbageholdelse af større partikler (</a:t>
            </a:r>
            <a:r>
              <a:rPr lang="da-DK" i="1" dirty="0">
                <a:cs typeface="Segoe UI"/>
              </a:rPr>
              <a:t>sandfang</a:t>
            </a:r>
            <a:r>
              <a:rPr lang="da-DK" dirty="0">
                <a:cs typeface="Segoe UI"/>
              </a:rPr>
              <a:t>)</a:t>
            </a:r>
          </a:p>
          <a:p>
            <a:pPr marL="568325" lvl="1">
              <a:buFont typeface="Courier New" panose="020B0604020202020204" pitchFamily="34" charset="0"/>
              <a:buChar char="o"/>
            </a:pPr>
            <a:r>
              <a:rPr lang="da-DK" dirty="0">
                <a:cs typeface="Segoe UI"/>
              </a:rPr>
              <a:t>Reducerer belastning af hovedbassin og dermed sjældnere behov for oprensning (</a:t>
            </a:r>
            <a:r>
              <a:rPr lang="da-DK" err="1">
                <a:cs typeface="Segoe UI"/>
              </a:rPr>
              <a:t>forbassin</a:t>
            </a:r>
            <a:r>
              <a:rPr lang="da-DK" dirty="0">
                <a:cs typeface="Segoe UI"/>
              </a:rPr>
              <a:t>: 10-20 år </a:t>
            </a:r>
            <a:r>
              <a:rPr lang="da-DK" sz="2000" dirty="0">
                <a:latin typeface="Aptos"/>
                <a:cs typeface="Segoe UI"/>
              </a:rPr>
              <a:t>→</a:t>
            </a:r>
            <a:r>
              <a:rPr lang="da-DK" dirty="0">
                <a:cs typeface="Segoe UI"/>
              </a:rPr>
              <a:t> 20-40 år)</a:t>
            </a:r>
            <a:endParaRPr lang="da-DK" dirty="0"/>
          </a:p>
          <a:p>
            <a:pPr marL="852725" lvl="2">
              <a:buFont typeface="Courier New" panose="020B0604020202020204" pitchFamily="34" charset="0"/>
              <a:buChar char="o"/>
            </a:pPr>
            <a:r>
              <a:rPr lang="da-DK" i="1" dirty="0">
                <a:cs typeface="Segoe UI"/>
              </a:rPr>
              <a:t>Hvis sandfangs-elementerne reelt tømmes ved behov</a:t>
            </a:r>
            <a:endParaRPr lang="da-DK" dirty="0">
              <a:cs typeface="Segoe UI"/>
            </a:endParaRPr>
          </a:p>
          <a:p>
            <a:pPr marL="568325" lvl="1">
              <a:buFont typeface="Courier New" panose="020B0604020202020204" pitchFamily="34" charset="0"/>
              <a:buChar char="o"/>
            </a:pPr>
            <a:endParaRPr lang="da-DK" dirty="0">
              <a:cs typeface="Segoe UI"/>
            </a:endParaRPr>
          </a:p>
          <a:p>
            <a:r>
              <a:rPr lang="da-DK"/>
              <a:t>Overordnede sandfangs-typer:</a:t>
            </a:r>
            <a:endParaRPr lang="da-DK">
              <a:cs typeface="Segoe UI"/>
            </a:endParaRPr>
          </a:p>
          <a:p>
            <a:endParaRPr lang="da-DK" dirty="0">
              <a:cs typeface="Segoe UI"/>
            </a:endParaRPr>
          </a:p>
          <a:p>
            <a:endParaRPr lang="da-DK" dirty="0">
              <a:cs typeface="Segoe UI"/>
            </a:endParaRPr>
          </a:p>
          <a:p>
            <a:endParaRPr lang="da-DK" dirty="0">
              <a:cs typeface="Segoe UI"/>
            </a:endParaRPr>
          </a:p>
          <a:p>
            <a:endParaRPr lang="da-DK" dirty="0">
              <a:cs typeface="Segoe UI"/>
            </a:endParaRPr>
          </a:p>
          <a:p>
            <a:endParaRPr lang="da-DK" dirty="0">
              <a:cs typeface="Segoe UI"/>
            </a:endParaRPr>
          </a:p>
          <a:p>
            <a:endParaRPr lang="da-DK" dirty="0">
              <a:cs typeface="Segoe UI"/>
            </a:endParaRPr>
          </a:p>
          <a:p>
            <a:endParaRPr lang="da-DK" dirty="0">
              <a:cs typeface="Segoe UI"/>
            </a:endParaRPr>
          </a:p>
          <a:p>
            <a:endParaRPr lang="da-DK" dirty="0">
              <a:cs typeface="Segoe UI"/>
            </a:endParaRPr>
          </a:p>
          <a:p>
            <a:endParaRPr lang="da-DK" dirty="0">
              <a:cs typeface="Segoe UI"/>
            </a:endParaRP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420466F3-FDEF-0C54-9E71-32502C1E37DC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rcRect r="1252"/>
          <a:stretch>
            <a:fillRect/>
          </a:stretch>
        </p:blipFill>
        <p:spPr>
          <a:xfrm>
            <a:off x="2975549" y="3491925"/>
            <a:ext cx="5069983" cy="2364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1396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8EB9C4-99A8-8266-2822-C1A00AD078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46143B-097D-BE37-E8DF-665D5A7C46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Våde forbassin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FE35C9A-1618-EEA7-2573-DAEDA146B46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buNone/>
            </a:pPr>
            <a:r>
              <a:rPr lang="da-DK" dirty="0"/>
              <a:t>Typer og dimensioner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00EBD-7E33-5EA9-A32B-14185B0649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8</a:t>
            </a:fld>
            <a:endParaRPr lang="da-DK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A168EB9-11E3-2A16-5C21-899C3DCB0E3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91574" y="4555340"/>
            <a:ext cx="11397200" cy="2268910"/>
          </a:xfr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da-DK" dirty="0">
                <a:cs typeface="Segoe UI"/>
              </a:rPr>
              <a:t>I DK både som selvstændige enheder 		eller integreret (fordybning eller barriere) i hovedbassin </a:t>
            </a:r>
          </a:p>
          <a:p>
            <a:endParaRPr lang="da-DK" b="1" dirty="0"/>
          </a:p>
          <a:p>
            <a:r>
              <a:rPr lang="da-DK" b="1" dirty="0"/>
              <a:t>Dimensionering</a:t>
            </a:r>
            <a:endParaRPr lang="en-US" b="1" dirty="0">
              <a:cs typeface="Segoe UI"/>
            </a:endParaRPr>
          </a:p>
          <a:p>
            <a:pPr marL="568325" lvl="1">
              <a:buFont typeface="Courier New" panose="020B0604020202020204" pitchFamily="34" charset="0"/>
              <a:buChar char="o"/>
            </a:pPr>
            <a:r>
              <a:rPr lang="da-DK" dirty="0">
                <a:cs typeface="Segoe UI"/>
              </a:rPr>
              <a:t>20-50 m</a:t>
            </a:r>
            <a:r>
              <a:rPr lang="da-DK" baseline="30000" dirty="0">
                <a:cs typeface="Segoe UI"/>
              </a:rPr>
              <a:t>3</a:t>
            </a:r>
            <a:r>
              <a:rPr lang="da-DK" dirty="0">
                <a:cs typeface="Segoe UI"/>
              </a:rPr>
              <a:t> (</a:t>
            </a:r>
            <a:r>
              <a:rPr lang="da-DK" dirty="0" err="1">
                <a:cs typeface="Segoe UI"/>
              </a:rPr>
              <a:t>Faktablad</a:t>
            </a:r>
            <a:r>
              <a:rPr lang="da-DK" dirty="0">
                <a:cs typeface="Segoe UI"/>
              </a:rPr>
              <a:t> 2012)</a:t>
            </a:r>
          </a:p>
          <a:p>
            <a:pPr marL="568325" lvl="1">
              <a:buFont typeface="Courier New" panose="020B0604020202020204" pitchFamily="34" charset="0"/>
              <a:buChar char="o"/>
            </a:pPr>
            <a:r>
              <a:rPr lang="da-DK" dirty="0">
                <a:cs typeface="Segoe UI"/>
              </a:rPr>
              <a:t>10-15 % af samlet areal/volumen af hovedbassin (US guidelines m.fl.).</a:t>
            </a:r>
          </a:p>
          <a:p>
            <a:pPr marL="568325" lvl="1">
              <a:buFont typeface="Courier New" panose="020B0604020202020204" pitchFamily="34" charset="0"/>
              <a:buChar char="o"/>
            </a:pPr>
            <a:r>
              <a:rPr lang="da-DK" dirty="0">
                <a:cs typeface="Segoe UI"/>
              </a:rPr>
              <a:t>25 % af samlet vådt volumen (VD, typetegning, 2022)</a:t>
            </a:r>
            <a:endParaRPr lang="da-DK" dirty="0"/>
          </a:p>
          <a:p>
            <a:pPr marL="568325" lvl="1">
              <a:buFont typeface="Courier New" panose="020B0604020202020204" pitchFamily="34" charset="0"/>
              <a:buChar char="o"/>
            </a:pPr>
            <a:r>
              <a:rPr lang="da-DK" dirty="0">
                <a:latin typeface="Segoe UI"/>
                <a:cs typeface="Segoe UI"/>
              </a:rPr>
              <a:t>(0,3 m/s gennemstrømningshastighed - som horisontale sandfang på renseanlæg - Winther, 1978)</a:t>
            </a:r>
            <a:endParaRPr lang="da-DK" dirty="0"/>
          </a:p>
          <a:p>
            <a:endParaRPr lang="da-DK" b="1" dirty="0">
              <a:cs typeface="Segoe UI"/>
            </a:endParaRPr>
          </a:p>
          <a:p>
            <a:endParaRPr lang="da-DK" dirty="0">
              <a:cs typeface="Segoe UI"/>
            </a:endParaRPr>
          </a:p>
        </p:txBody>
      </p:sp>
      <p:pic>
        <p:nvPicPr>
          <p:cNvPr id="8" name="Picture 7" descr="A pond in a field&#10;&#10;AI-generated content may be incorrect.">
            <a:extLst>
              <a:ext uri="{FF2B5EF4-FFF2-40B4-BE49-F238E27FC236}">
                <a16:creationId xmlns:a16="http://schemas.microsoft.com/office/drawing/2014/main" id="{E6AF6DD7-B7E6-15C6-3B9F-19A6BA05B0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980" y="1511345"/>
            <a:ext cx="5578490" cy="2960426"/>
          </a:xfrm>
          <a:prstGeom prst="rect">
            <a:avLst/>
          </a:prstGeom>
        </p:spPr>
      </p:pic>
      <p:pic>
        <p:nvPicPr>
          <p:cNvPr id="10" name="Picture 9" descr="A large round pond surrounded by grass&#10;&#10;AI-generated content may be incorrect.">
            <a:extLst>
              <a:ext uri="{FF2B5EF4-FFF2-40B4-BE49-F238E27FC236}">
                <a16:creationId xmlns:a16="http://schemas.microsoft.com/office/drawing/2014/main" id="{124B2A69-7E50-2050-2DFA-65444613B5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2355" y="1511345"/>
            <a:ext cx="5892857" cy="2960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8819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20D1D8-7F17-1107-A22E-1E0A4BCEEA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1AFEE34-86B7-E7C4-B913-67E5673B79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0" progId="TCLayout.ActiveDocument.1">
                  <p:embed/>
                </p:oleObj>
              </mc:Choice>
              <mc:Fallback>
                <p:oleObj name="think-cell Slide" r:id="rId3" imgW="530" imgH="53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AFEE34-86B7-E7C4-B913-67E5673B79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9511FB4-3119-7D65-DEE8-FD0495DEF9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Våde </a:t>
            </a:r>
            <a:r>
              <a:rPr lang="da-DK" dirty="0" err="1"/>
              <a:t>forbassiner</a:t>
            </a:r>
            <a:endParaRPr lang="da-DK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82DF638-2BF7-4686-A13C-29467DB8106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/>
              <a:t>Hovedpointer fra udenlandske guidelines (US, UK mm.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AB888D-71E2-FD2E-20AC-629327CC19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9</a:t>
            </a:fld>
            <a:endParaRPr lang="da-DK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8EFF031-B5F3-28D3-D264-2F7E08F2782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9199" y="1511300"/>
            <a:ext cx="11624138" cy="4648200"/>
          </a:xfr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da-DK" dirty="0"/>
              <a:t>Selvstændigt </a:t>
            </a:r>
            <a:r>
              <a:rPr lang="da-DK" dirty="0" err="1"/>
              <a:t>forbassin</a:t>
            </a:r>
            <a:r>
              <a:rPr lang="da-DK" dirty="0"/>
              <a:t> med en fysisk barriere mod hovedbassin </a:t>
            </a:r>
          </a:p>
          <a:p>
            <a:r>
              <a:rPr lang="da-DK" dirty="0"/>
              <a:t>Skal kunne tømmes fra en eller begge sider (tømningsmetoder – tøropgravning og sugning)</a:t>
            </a:r>
          </a:p>
          <a:p>
            <a:r>
              <a:rPr lang="da-DK" dirty="0" err="1"/>
              <a:t>Længde:bredde</a:t>
            </a:r>
            <a:r>
              <a:rPr lang="da-DK" dirty="0"/>
              <a:t> forhold på 3:1 (som for hovedbassin)</a:t>
            </a:r>
          </a:p>
          <a:p>
            <a:r>
              <a:rPr lang="da-DK" dirty="0"/>
              <a:t>Dybde på 1 - 1,8 m </a:t>
            </a:r>
          </a:p>
          <a:p>
            <a:r>
              <a:rPr lang="da-DK" dirty="0"/>
              <a:t>Kørefast bund (ikke grus og </a:t>
            </a:r>
            <a:r>
              <a:rPr lang="da-DK" dirty="0" err="1"/>
              <a:t>makadam</a:t>
            </a:r>
            <a:r>
              <a:rPr lang="da-DK" dirty="0"/>
              <a:t>) </a:t>
            </a:r>
          </a:p>
          <a:p>
            <a:r>
              <a:rPr lang="da-DK" dirty="0"/>
              <a:t>Evt. omløbsmulighed</a:t>
            </a:r>
          </a:p>
          <a:p>
            <a:r>
              <a:rPr lang="da-DK" dirty="0"/>
              <a:t>Evt. mellemdepot til afvanding af sediment (</a:t>
            </a:r>
            <a:r>
              <a:rPr lang="da-DK" i="1" dirty="0"/>
              <a:t>DK?</a:t>
            </a:r>
            <a:r>
              <a:rPr lang="da-DK" dirty="0"/>
              <a:t>)</a:t>
            </a:r>
          </a:p>
          <a:p>
            <a:r>
              <a:rPr lang="da-DK" dirty="0"/>
              <a:t>Indtænk driften i designfasen (DK: </a:t>
            </a:r>
            <a:r>
              <a:rPr lang="da-DK" i="1" dirty="0"/>
              <a:t>BEK110</a:t>
            </a:r>
            <a:r>
              <a:rPr lang="da-DK" dirty="0"/>
              <a:t>)</a:t>
            </a:r>
          </a:p>
          <a:p>
            <a:endParaRPr lang="da-DK" dirty="0">
              <a:cs typeface="Segoe UI"/>
            </a:endParaRPr>
          </a:p>
          <a:p>
            <a:endParaRPr lang="da-DK" dirty="0"/>
          </a:p>
          <a:p>
            <a:endParaRPr lang="da-DK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729C70B-AF24-07C5-8D58-90BC6EADF5B7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18453"/>
          <a:stretch>
            <a:fillRect/>
          </a:stretch>
        </p:blipFill>
        <p:spPr>
          <a:xfrm>
            <a:off x="5802479" y="3233662"/>
            <a:ext cx="6254560" cy="2925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25050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HEIGHT" val="34.3674"/>
  <p:tag name="ORIGINAL_WIDTH" val="290.784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USTMASTERBOTTOMMARGIN" val="121.8898"/>
  <p:tag name="CUSTMASTERLEFTMARGIN" val="36.2835"/>
  <p:tag name="CUSTMASTERRIGHTMARGIN" val="36.2835"/>
  <p:tag name="CUSTMASTERTOPMARGIN" val="121.8898"/>
  <p:tag name="MASTERBOTTOMMARGIN" val="121.8898"/>
  <p:tag name="MASTERLEFTMARGIN" val="36.2835"/>
  <p:tag name="MASTERRIGHTMARGIN" val="36.2835"/>
  <p:tag name="MASTERTOPMARGIN" val="121.889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USTMASTERBOTTOMMARGIN" val="121.8898"/>
  <p:tag name="CUSTMASTERLEFTMARGIN" val="36.2835"/>
  <p:tag name="CUSTMASTERRIGHTMARGIN" val="36.2835"/>
  <p:tag name="CUSTMASTERTOPMARGIN" val="121.8898"/>
  <p:tag name="MASTERBOTTOMMARGIN" val="121.8898"/>
  <p:tag name="MASTERLEFTMARGIN" val="36.2835"/>
  <p:tag name="MASTERRIGHTMARGIN" val="36.2835"/>
  <p:tag name="MASTERTOPMARGIN" val="121.889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HEIGHT" val="34.3674"/>
  <p:tag name="ORIGINAL_WIDTH" val="290.784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USTMASTERBOTTOMMARGIN" val="121.8898"/>
  <p:tag name="CUSTMASTERLEFTMARGIN" val="36.2835"/>
  <p:tag name="CUSTMASTERRIGHTMARGIN" val="36.2835"/>
  <p:tag name="CUSTMASTERTOPMARGIN" val="121.8898"/>
  <p:tag name="MASTERBOTTOMMARGIN" val="121.8898"/>
  <p:tag name="MASTERLEFTMARGIN" val="36.2835"/>
  <p:tag name="MASTERRIGHTMARGIN" val="36.2835"/>
  <p:tag name="MASTERTOPMARGIN" val="121.8898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USTMASTERBOTTOMMARGIN" val="121.8898"/>
  <p:tag name="CUSTMASTERLEFTMARGIN" val="36.2835"/>
  <p:tag name="CUSTMASTERRIGHTMARGIN" val="36.2835"/>
  <p:tag name="CUSTMASTERTOPMARGIN" val="121.8898"/>
  <p:tag name="MASTERBOTTOMMARGIN" val="121.8898"/>
  <p:tag name="MASTERLEFTMARGIN" val="36.2835"/>
  <p:tag name="MASTERRIGHTMARGIN" val="36.2835"/>
  <p:tag name="MASTERTOPMARGIN" val="121.8898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TITLESHAPE" val="True"/>
  <p:tag name="ORIGINAL_HEIGHT" val="74.64189"/>
  <p:tag name="ORIGINAL_WIDTH" val="905.755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FOOTERSHAPE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IDESAPPLIEDTO" val="2"/>
  <p:tag name="GUTTERCOL" val="0.6"/>
  <p:tag name="GUTTERROW" val="0.6"/>
  <p:tag name="MASTERBOTTOMMARGIN" val="121.8898"/>
  <p:tag name="MASTERLEFTMARGIN" val="36.2835"/>
  <p:tag name="MASTERRIGHTMARGIN" val="36.2835"/>
  <p:tag name="MASTERTOPMARGIN" val="121.889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IDESAPPLIEDTO" val="2"/>
  <p:tag name="GUTTERCOL" val="0.6"/>
  <p:tag name="GUTTERROW" val="0.6"/>
  <p:tag name="MASTERBOTTOMMARGIN" val="121.8898"/>
  <p:tag name="MASTERLEFTMARGIN" val="36.2835"/>
  <p:tag name="MASTERRIGHTMARGIN" val="36.2835"/>
  <p:tag name="MASTERTOPMARGIN" val="121.889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UTOOLS_STYLE_NAME" val="Head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HEIGHT" val="95.56425"/>
  <p:tag name="ORIGINAL_WIDTH" val="379.4155"/>
</p:tagLst>
</file>

<file path=ppt/theme/theme1.xml><?xml version="1.0" encoding="utf-8"?>
<a:theme xmlns:a="http://schemas.openxmlformats.org/drawingml/2006/main" name="Rock">
  <a:themeElements>
    <a:clrScheme name="ROCK">
      <a:dk1>
        <a:srgbClr val="303030"/>
      </a:dk1>
      <a:lt1>
        <a:srgbClr val="FFFFFF"/>
      </a:lt1>
      <a:dk2>
        <a:srgbClr val="303030"/>
      </a:dk2>
      <a:lt2>
        <a:srgbClr val="F1F2F2"/>
      </a:lt2>
      <a:accent1>
        <a:srgbClr val="DDDDDD"/>
      </a:accent1>
      <a:accent2>
        <a:srgbClr val="BDBDBD"/>
      </a:accent2>
      <a:accent3>
        <a:srgbClr val="9E9E9E"/>
      </a:accent3>
      <a:accent4>
        <a:srgbClr val="666666"/>
      </a:accent4>
      <a:accent5>
        <a:srgbClr val="404040"/>
      </a:accent5>
      <a:accent6>
        <a:srgbClr val="BA1223"/>
      </a:accent6>
      <a:hlink>
        <a:srgbClr val="1B10F8"/>
      </a:hlink>
      <a:folHlink>
        <a:srgbClr val="800080"/>
      </a:folHlink>
    </a:clrScheme>
    <a:fontScheme name="NIRAS Theme Fonts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ock_Ny" id="{F70741BB-C90E-4A3A-ACCE-39828DADABA5}" vid="{0691EC50-D705-441A-8F7D-36D80E29B810}"/>
    </a:ext>
  </a:extLst>
</a:theme>
</file>

<file path=ppt/theme/theme2.xml><?xml version="1.0" encoding="utf-8"?>
<a:theme xmlns:a="http://schemas.openxmlformats.org/drawingml/2006/main" name="Office-tema">
  <a:themeElements>
    <a:clrScheme name="__WSP">
      <a:dk1>
        <a:srgbClr val="000000"/>
      </a:dk1>
      <a:lt1>
        <a:srgbClr val="FFFFFF"/>
      </a:lt1>
      <a:dk2>
        <a:srgbClr val="404040"/>
      </a:dk2>
      <a:lt2>
        <a:srgbClr val="CCCCCC"/>
      </a:lt2>
      <a:accent1>
        <a:srgbClr val="FF372F"/>
      </a:accent1>
      <a:accent2>
        <a:srgbClr val="CC2126"/>
      </a:accent2>
      <a:accent3>
        <a:srgbClr val="680005"/>
      </a:accent3>
      <a:accent4>
        <a:srgbClr val="9A9A9A"/>
      </a:accent4>
      <a:accent5>
        <a:srgbClr val="CCCCCC"/>
      </a:accent5>
      <a:accent6>
        <a:srgbClr val="E1E1E1"/>
      </a:accent6>
      <a:hlink>
        <a:srgbClr val="000000"/>
      </a:hlink>
      <a:folHlink>
        <a:srgbClr val="40404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Blue 1">
      <a:srgbClr val="1594FD"/>
    </a:custClr>
    <a:custClr name="Blue 2">
      <a:srgbClr val="162E76"/>
    </a:custClr>
    <a:custClr name="Orange 1">
      <a:srgbClr val="F35B05"/>
    </a:custClr>
    <a:custClr name="Custom Color 4">
      <a:srgbClr val="C33900"/>
    </a:custClr>
    <a:custClr name="Yellow 1">
      <a:srgbClr val="FFD10A"/>
    </a:custClr>
    <a:custClr name="Yellow 2">
      <a:srgbClr val="FEA513"/>
    </a:custClr>
    <a:custClr name="Green 1">
      <a:srgbClr val="496C1A"/>
    </a:custClr>
    <a:custClr name="Green 2">
      <a:srgbClr val="224807"/>
    </a:custClr>
    <a:custClr name="Brown 1">
      <a:srgbClr val="B16F4F"/>
    </a:custClr>
    <a:custClr name="Brown 2">
      <a:srgbClr val="4C2C00"/>
    </a:custClr>
  </a:custClrLst>
  <a:extLst>
    <a:ext uri="{05A4C25C-085E-4340-85A3-A5531E510DB2}">
      <thm15:themeFamily xmlns:thm15="http://schemas.microsoft.com/office/thememl/2012/main" name="da-dk_Presentation_Complete.potx" id="{0213C32E-D7A0-424E-8C9C-EDF1A1374CAE}" vid="{5DED89E1-7171-4CB0-A1C6-61499EC2E52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F859EEB84668E4997A254456C62F098" ma:contentTypeVersion="17" ma:contentTypeDescription="Create a new document." ma:contentTypeScope="" ma:versionID="1b63748aa1b61e667bb801d5e066a4c8">
  <xsd:schema xmlns:xsd="http://www.w3.org/2001/XMLSchema" xmlns:xs="http://www.w3.org/2001/XMLSchema" xmlns:p="http://schemas.microsoft.com/office/2006/metadata/properties" xmlns:ns2="e7a3f5df-7401-42f0-84af-6905b1657b61" xmlns:ns3="f9035d1d-02ea-4123-a16b-00762f348a40" targetNamespace="http://schemas.microsoft.com/office/2006/metadata/properties" ma:root="true" ma:fieldsID="93ea77b09f9ddd6f6ee74c349cc4f63f" ns2:_="" ns3:_="">
    <xsd:import namespace="e7a3f5df-7401-42f0-84af-6905b1657b61"/>
    <xsd:import namespace="f9035d1d-02ea-4123-a16b-00762f348a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2:MediaServiceSearchPropertie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a3f5df-7401-42f0-84af-6905b1657b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58568548-9f5a-4e35-9c17-968ba1d5fea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BillingMetadata" ma:index="24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035d1d-02ea-4123-a16b-00762f348a40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439c91e0-08ca-4c70-b451-8790e4834f82}" ma:internalName="TaxCatchAll" ma:showField="CatchAllData" ma:web="f9035d1d-02ea-4123-a16b-00762f348a4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9035d1d-02ea-4123-a16b-00762f348a40" xsi:nil="true"/>
    <lcf76f155ced4ddcb4097134ff3c332f xmlns="e7a3f5df-7401-42f0-84af-6905b1657b61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7F61CBF1-9381-4843-B5B5-B4ED072E57A8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CC8B92E9-4A0C-4A0E-99CF-605E3C9D882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BCE541A-65C3-4F42-8140-98C74CDBE8A6}"/>
</file>

<file path=customXml/itemProps4.xml><?xml version="1.0" encoding="utf-8"?>
<ds:datastoreItem xmlns:ds="http://schemas.openxmlformats.org/officeDocument/2006/customXml" ds:itemID="{EF2D9010-5B9A-42E9-82DA-7047A8B26637}">
  <ds:schemaRefs>
    <ds:schemaRef ds:uri="http://schemas.microsoft.com/office/2006/documentManagement/types"/>
    <ds:schemaRef ds:uri="36389baf-d775-4142-9ba9-987d54fbb0d5"/>
    <ds:schemaRef ds:uri="a82ec2e7-5bd1-45b4-ad60-bf4a1efd4048"/>
    <ds:schemaRef ds:uri="http://purl.org/dc/elements/1.1/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ccc0c5c-6737-4db7-9f28-0b4543071d94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9096ad9-8b60-446a-90b7-017dbb9421a3}" enabled="1" method="Standard" siteId="{3d234255-e20f-4205-88a5-9658a402999b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ROCK</Template>
  <TotalTime>0</TotalTime>
  <Words>1387</Words>
  <Application>Microsoft Office PowerPoint</Application>
  <PresentationFormat>Widescreen</PresentationFormat>
  <Paragraphs>285</Paragraphs>
  <Slides>18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8</vt:i4>
      </vt:variant>
    </vt:vector>
  </HeadingPairs>
  <TitlesOfParts>
    <vt:vector size="20" baseType="lpstr">
      <vt:lpstr>Rock</vt:lpstr>
      <vt:lpstr>Office-tema</vt:lpstr>
      <vt:lpstr>PowerPoint Presentation</vt:lpstr>
      <vt:lpstr>Opgavebeskrivelse </vt:lpstr>
      <vt:lpstr>Dette oplæg </vt:lpstr>
      <vt:lpstr>Udformning af bassiner – hvad har betydning?</vt:lpstr>
      <vt:lpstr>Undersøgelse af parametrenes betydning i StormTac</vt:lpstr>
      <vt:lpstr>Eksempel på resultater fra StormTac</vt:lpstr>
      <vt:lpstr>For-rensning og sandfangselementer  </vt:lpstr>
      <vt:lpstr>Våde forbassiner</vt:lpstr>
      <vt:lpstr>Våde forbassiner</vt:lpstr>
      <vt:lpstr>Våde forbassiner</vt:lpstr>
      <vt:lpstr>Åben sandfangskasse</vt:lpstr>
      <vt:lpstr>Lukkede sandfangs-elementer</vt:lpstr>
      <vt:lpstr>Fører sandfangselementer til bedre rensning?</vt:lpstr>
      <vt:lpstr>Materialevalg –Membraner </vt:lpstr>
      <vt:lpstr>Membran-typer</vt:lpstr>
      <vt:lpstr>Membran-egenskaber</vt:lpstr>
      <vt:lpstr>Ler-membraner</vt:lpstr>
      <vt:lpstr>Bæredygtighed – CO2-reduktion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els Keld Nielsen (NKN)</dc:creator>
  <cp:lastModifiedBy>Steffen Reestorff Frandsen (SBF)</cp:lastModifiedBy>
  <cp:revision>349</cp:revision>
  <dcterms:created xsi:type="dcterms:W3CDTF">2023-01-25T11:38:08Z</dcterms:created>
  <dcterms:modified xsi:type="dcterms:W3CDTF">2026-02-25T15:46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F859EEB84668E4997A254456C62F098</vt:lpwstr>
  </property>
  <property fmtid="{D5CDD505-2E9C-101B-9397-08002B2CF9AE}" pid="3" name="NIRASScale">
    <vt:lpwstr/>
  </property>
  <property fmtid="{D5CDD505-2E9C-101B-9397-08002B2CF9AE}" pid="4" name="NIRASQAStatus">
    <vt:lpwstr/>
  </property>
  <property fmtid="{D5CDD505-2E9C-101B-9397-08002B2CF9AE}" pid="5" name="NIRASDocumentKind">
    <vt:lpwstr>22;#Presentation|6971b158-feba-49ed-a316-35dbbf67cee1</vt:lpwstr>
  </property>
  <property fmtid="{D5CDD505-2E9C-101B-9397-08002B2CF9AE}" pid="6" name="ApplyLanguageRun">
    <vt:lpwstr>true</vt:lpwstr>
  </property>
  <property fmtid="{D5CDD505-2E9C-101B-9397-08002B2CF9AE}" pid="7" name="NIRASProjectPMTools">
    <vt:lpwstr>138;#Template Selector|f8f85ed3-f2c2-4df4-bb13-522266036ee7</vt:lpwstr>
  </property>
  <property fmtid="{D5CDD505-2E9C-101B-9397-08002B2CF9AE}" pid="8" name="NIRASTemplateCategory">
    <vt:lpwstr>25;#01 Basic requirements|0fb2d9c2-2509-415d-948a-3076474e677e</vt:lpwstr>
  </property>
  <property fmtid="{D5CDD505-2E9C-101B-9397-08002B2CF9AE}" pid="9" name="NIRASQAProjectAreas">
    <vt:lpwstr/>
  </property>
  <property fmtid="{D5CDD505-2E9C-101B-9397-08002B2CF9AE}" pid="10" name="NIRASTemplateSubCategory">
    <vt:lpwstr>20;#0 Common|eba7106b-01cd-4238-b24f-a49068c47cbb</vt:lpwstr>
  </property>
  <property fmtid="{D5CDD505-2E9C-101B-9397-08002B2CF9AE}" pid="11" name="Sector">
    <vt:lpwstr/>
  </property>
  <property fmtid="{D5CDD505-2E9C-101B-9397-08002B2CF9AE}" pid="12" name="NIRASQASelection">
    <vt:lpwstr/>
  </property>
  <property fmtid="{D5CDD505-2E9C-101B-9397-08002B2CF9AE}" pid="13" name="_dlc_DocIdItemGuid">
    <vt:lpwstr>5b6d4003-571c-4a97-87c6-d94197737834</vt:lpwstr>
  </property>
  <property fmtid="{D5CDD505-2E9C-101B-9397-08002B2CF9AE}" pid="14" name="NIRASTemplateLanguage">
    <vt:lpwstr>1;#da|85a7bdcc-6054-47c4-b67d-6b01964d4c3f;#4;#de|8975ef33-90de-4067-b9e8-c85fbc675a5f;#5;#en|0e930e54-c504-4d4f-b36d-e0434a2d60d0;#7;#fi|156afc77-e8bb-4a24-bc8b-1c9f0acb2cef;#6;#fr|d6031392-5fa7-4934-b579-f779cc818091;#101;#nl|45f32878-6eb9-427b-b6cc-e2c15c98d5b6;#8;#no|4759a997-26b4-4313-99d3-0bb98e58dd74;#9;#pl|3312d36a-8a5e-4c69-8c9b-7fdda89fb130;#10;#sv|5ad03a8a-27c2-4e72-8c3e-fd5bb68f0319</vt:lpwstr>
  </property>
  <property fmtid="{D5CDD505-2E9C-101B-9397-08002B2CF9AE}" pid="15" name="NIRASQAGroup">
    <vt:lpwstr/>
  </property>
  <property fmtid="{D5CDD505-2E9C-101B-9397-08002B2CF9AE}" pid="16" name="Responsible">
    <vt:lpwstr>23;#nkn@niras.dk</vt:lpwstr>
  </property>
  <property fmtid="{D5CDD505-2E9C-101B-9397-08002B2CF9AE}" pid="17" name="NIRASAI">
    <vt:lpwstr/>
  </property>
  <property fmtid="{D5CDD505-2E9C-101B-9397-08002B2CF9AE}" pid="18" name="NIRASPriceListSupplier">
    <vt:lpwstr/>
  </property>
  <property fmtid="{D5CDD505-2E9C-101B-9397-08002B2CF9AE}" pid="19" name="NIRASPriceListTechnology">
    <vt:lpwstr/>
  </property>
  <property fmtid="{D5CDD505-2E9C-101B-9397-08002B2CF9AE}" pid="20" name="_dlc_DocId_src">
    <vt:lpwstr>{Module.FooterText}</vt:lpwstr>
  </property>
  <property fmtid="{D5CDD505-2E9C-101B-9397-08002B2CF9AE}" pid="21" name="_dlc_DocId">
    <vt:lpwstr>10425072-786504943-360</vt:lpwstr>
  </property>
  <property fmtid="{D5CDD505-2E9C-101B-9397-08002B2CF9AE}" pid="22" name="MediaServiceImageTags">
    <vt:lpwstr/>
  </property>
</Properties>
</file>